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3.xml" ContentType="application/vnd.openxmlformats-officedocument.them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51" r:id="rId4"/>
    <p:sldMasterId id="2147483700" r:id="rId5"/>
  </p:sldMasterIdLst>
  <p:notesMasterIdLst>
    <p:notesMasterId r:id="rId15"/>
  </p:notesMasterIdLst>
  <p:sldIdLst>
    <p:sldId id="256" r:id="rId6"/>
    <p:sldId id="264" r:id="rId7"/>
    <p:sldId id="258" r:id="rId8"/>
    <p:sldId id="268" r:id="rId9"/>
    <p:sldId id="262" r:id="rId10"/>
    <p:sldId id="266" r:id="rId11"/>
    <p:sldId id="267" r:id="rId12"/>
    <p:sldId id="271" r:id="rId13"/>
    <p:sldId id="270" r:id="rId14"/>
  </p:sldIdLst>
  <p:sldSz cx="12192000" cy="6858000"/>
  <p:notesSz cx="6858000" cy="9144000"/>
  <p:custDataLst>
    <p:tags r:id="rId16"/>
  </p:custDataLst>
  <p:defaultTextStyle>
    <a:defPPr>
      <a:defRPr lang="en-US"/>
    </a:defPPr>
    <a:lvl1pPr marL="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1pPr>
    <a:lvl2pPr marL="2286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2pPr>
    <a:lvl3pPr marL="4572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3pPr>
    <a:lvl4pPr marL="6858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4pPr>
    <a:lvl5pPr marL="9144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5pPr>
    <a:lvl6pPr marL="11430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6pPr>
    <a:lvl7pPr marL="13716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7pPr>
    <a:lvl8pPr marL="16002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8pPr>
    <a:lvl9pPr marL="18288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Innledning" id="{EC5882E4-4C42-44CC-8E14-BBD8739ED317}">
          <p14:sldIdLst>
            <p14:sldId id="256"/>
            <p14:sldId id="264"/>
            <p14:sldId id="258"/>
          </p14:sldIdLst>
        </p14:section>
        <p14:section name="Innhold" id="{3F3BEDD3-96E7-466A-836C-FB310EE77F5D}">
          <p14:sldIdLst>
            <p14:sldId id="268"/>
            <p14:sldId id="262"/>
            <p14:sldId id="266"/>
            <p14:sldId id="267"/>
            <p14:sldId id="271"/>
          </p14:sldIdLst>
        </p14:section>
        <p14:section name="Avslutning" id="{5C6E4BD7-C134-4669-9A10-BEDC7F62E62A}">
          <p14:sldIdLst>
            <p14:sldId id="270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Rebekka Solberg" initials="RS" lastIdx="9" clrIdx="0">
    <p:extLst>
      <p:ext uri="{19B8F6BF-5375-455C-9EA6-DF929625EA0E}">
        <p15:presenceInfo xmlns:p15="http://schemas.microsoft.com/office/powerpoint/2012/main" userId="S::rebekka.solberg@nhn.no::f47501a4-b4b5-4799-a4a2-215b79aae016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7BEFB2"/>
    <a:srgbClr val="015945"/>
    <a:srgbClr val="BCBEC0"/>
    <a:srgbClr val="02A67F"/>
    <a:srgbClr val="7AF0B2"/>
    <a:srgbClr val="247360"/>
    <a:srgbClr val="E85801"/>
    <a:srgbClr val="39806F"/>
    <a:srgbClr val="9BF3C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E386B95B-4CC8-48FC-A115-F57F1401E14C}" v="7" dt="2023-05-12T12:34:20.677"/>
  </p1510:revLst>
</p1510:revInfo>
</file>

<file path=ppt/tableStyles.xml><?xml version="1.0" encoding="utf-8"?>
<a:tblStyleLst xmlns:a="http://schemas.openxmlformats.org/drawingml/2006/main" def="{49B910FD-70F5-414C-948A-135EA5CDF89A}">
  <a:tblStyle styleId="{49B910FD-70F5-414C-948A-135EA5CDF89A}" styleName="Norsk helsenett (lys bakgrunn)">
    <a:wholeTbl>
      <a:tcTxStyle>
        <a:fontRef idx="minor">
          <a:prstClr val="black"/>
        </a:fontRef>
        <a:srgbClr val="0D0D0D"/>
      </a:tcTxStyle>
      <a:tcStyle>
        <a:tcBdr>
          <a:left>
            <a:ln w="0" cmpd="sng">
              <a:solidFill>
                <a:srgbClr val="FFFFFF"/>
              </a:solidFill>
            </a:ln>
          </a:left>
          <a:right>
            <a:ln w="0" cmpd="sng">
              <a:solidFill>
                <a:srgbClr val="FFFFFF"/>
              </a:solidFill>
            </a:ln>
          </a:right>
          <a:top>
            <a:ln w="0" cmpd="sng">
              <a:solidFill>
                <a:srgbClr val="FFFFFF"/>
              </a:solidFill>
            </a:ln>
          </a:top>
          <a:bottom>
            <a:ln w="0" cmpd="sng">
              <a:solidFill>
                <a:srgbClr val="FFFFFF"/>
              </a:solidFill>
            </a:ln>
          </a:bottom>
          <a:insideH>
            <a:ln w="0" cmpd="sng">
              <a:solidFill>
                <a:srgbClr val="FFFFFF"/>
              </a:solidFill>
            </a:ln>
          </a:insideH>
          <a:insideV>
            <a:ln w="0" cmpd="sng">
              <a:solidFill>
                <a:srgbClr val="FFFFFF"/>
              </a:solidFill>
            </a:ln>
          </a:insideV>
        </a:tcBdr>
        <a:fill>
          <a:solidFill>
            <a:srgbClr val="EDFBF4"/>
          </a:solidFill>
        </a:fill>
      </a:tcStyle>
    </a:wholeTbl>
    <a:band1H>
      <a:tcStyle>
        <a:tcBdr/>
        <a:fill>
          <a:solidFill>
            <a:srgbClr val="EDFBF4"/>
          </a:solidFill>
        </a:fill>
      </a:tcStyle>
    </a:band1H>
    <a:band2H>
      <a:tcStyle>
        <a:tcBdr/>
        <a:fill>
          <a:solidFill>
            <a:srgbClr val="DCF7E9"/>
          </a:solidFill>
        </a:fill>
      </a:tcStyle>
    </a:band2H>
    <a:band1V>
      <a:tcStyle>
        <a:tcBdr/>
      </a:tcStyle>
    </a:band1V>
    <a:band2V>
      <a:tcStyle>
        <a:tcBdr/>
      </a:tcStyle>
    </a:band2V>
    <a:lastCol>
      <a:tcTxStyle b="on">
        <a:fontRef idx="minor">
          <a:prstClr val="black"/>
        </a:fontRef>
        <a:srgbClr val="252A35"/>
      </a:tcTxStyle>
      <a:tcStyle>
        <a:tcBdr/>
        <a:fill>
          <a:solidFill>
            <a:srgbClr val="C7CCEF"/>
          </a:solidFill>
        </a:fill>
      </a:tcStyle>
    </a:lastCol>
    <a:firstCol>
      <a:tcTxStyle b="on">
        <a:fontRef idx="minor">
          <a:prstClr val="black"/>
        </a:fontRef>
        <a:srgbClr val="252A35"/>
      </a:tcTxStyle>
      <a:tcStyle>
        <a:tcBdr/>
        <a:fill>
          <a:solidFill>
            <a:srgbClr val="C7CCEF"/>
          </a:solidFill>
        </a:fill>
      </a:tcStyle>
    </a:firstCol>
    <a:lastRow>
      <a:tcTxStyle b="on">
        <a:fontRef idx="minor">
          <a:prstClr val="black"/>
        </a:fontRef>
        <a:srgbClr val="FFFFFF"/>
      </a:tcTxStyle>
      <a:tcStyle>
        <a:tcBdr/>
      </a:tcStyle>
    </a:lastRow>
    <a:firstRow>
      <a:tcTxStyle b="off">
        <a:fontRef idx="minor">
          <a:prstClr val="black"/>
        </a:fontRef>
        <a:srgbClr val="FFFFFF"/>
      </a:tcTxStyle>
      <a:tcStyle>
        <a:tcBdr>
          <a:left>
            <a:ln w="0" cmpd="sng">
              <a:solidFill>
                <a:srgbClr val="FFFFFF"/>
              </a:solidFill>
            </a:ln>
          </a:left>
          <a:right>
            <a:ln w="0" cmpd="sng">
              <a:solidFill>
                <a:srgbClr val="FFFFFF"/>
              </a:solidFill>
            </a:ln>
          </a:right>
          <a:top>
            <a:ln w="0" cmpd="sng">
              <a:solidFill>
                <a:srgbClr val="FFFFFF"/>
              </a:solidFill>
            </a:ln>
          </a:top>
          <a:bottom>
            <a:ln w="0" cmpd="sng">
              <a:solidFill>
                <a:srgbClr val="FFFFFF"/>
              </a:solidFill>
            </a:ln>
          </a:bottom>
          <a:insideH>
            <a:ln w="0" cmpd="sng">
              <a:solidFill>
                <a:srgbClr val="FFFFFF"/>
              </a:solidFill>
            </a:ln>
          </a:insideH>
          <a:insideV>
            <a:ln w="0" cmpd="sng">
              <a:solidFill>
                <a:srgbClr val="FFFFFF"/>
              </a:solidFill>
            </a:ln>
          </a:insideV>
        </a:tcBdr>
        <a:fill>
          <a:solidFill>
            <a:srgbClr val="015945"/>
          </a:solidFill>
        </a:fill>
      </a:tcStyle>
    </a:firstRow>
  </a:tblStyle>
  <a:tblStyle styleId="{9343EC62-6E1C-4CCD-B1D8-ED76135C5F7F}" styleName="Norsk helsenett (mørk bakgrunn)">
    <a:wholeTbl>
      <a:tcTxStyle>
        <a:fontRef idx="minor">
          <a:prstClr val="white"/>
        </a:fontRef>
        <a:srgbClr val="FFFFFF"/>
      </a:tcTxStyle>
      <a:tcStyle>
        <a:tcBdr>
          <a:left>
            <a:ln w="0" cmpd="sng">
              <a:solidFill>
                <a:srgbClr val="FFFFFF"/>
              </a:solidFill>
            </a:ln>
          </a:left>
          <a:right>
            <a:ln w="0" cmpd="sng">
              <a:solidFill>
                <a:srgbClr val="FFFFFF"/>
              </a:solidFill>
            </a:ln>
          </a:right>
          <a:top>
            <a:ln w="0" cmpd="sng">
              <a:solidFill>
                <a:srgbClr val="FFFFFF"/>
              </a:solidFill>
            </a:ln>
          </a:top>
          <a:bottom>
            <a:ln w="0" cmpd="sng">
              <a:solidFill>
                <a:srgbClr val="FFFFFF"/>
              </a:solidFill>
            </a:ln>
          </a:bottom>
          <a:insideH>
            <a:ln w="0" cmpd="sng">
              <a:solidFill>
                <a:srgbClr val="FFFFFF"/>
              </a:solidFill>
            </a:ln>
          </a:insideH>
          <a:insideV>
            <a:ln w="0" cmpd="sng">
              <a:solidFill>
                <a:srgbClr val="FFFFFF"/>
              </a:solidFill>
            </a:ln>
          </a:insideV>
        </a:tcBdr>
      </a:tcStyle>
    </a:wholeTbl>
    <a:band1H>
      <a:tcStyle>
        <a:tcBdr>
          <a:bottom>
            <a:ln w="6350" cap="flat" cmpd="sng" algn="ctr">
              <a:solidFill>
                <a:srgbClr val="80ACA2"/>
              </a:solidFill>
              <a:prstDash val="solid"/>
            </a:ln>
          </a:bottom>
        </a:tcBdr>
      </a:tcStyle>
    </a:band1H>
    <a:band2H>
      <a:tcStyle>
        <a:tcBdr>
          <a:bottom>
            <a:ln w="6350" cap="flat" cmpd="sng" algn="ctr">
              <a:solidFill>
                <a:srgbClr val="80ACA2"/>
              </a:solidFill>
              <a:prstDash val="solid"/>
            </a:ln>
          </a:bottom>
        </a:tcBdr>
        <a:fill>
          <a:solidFill>
            <a:srgbClr val="000000">
              <a:alpha val="20000"/>
            </a:srgbClr>
          </a:solidFill>
        </a:fill>
      </a:tcStyle>
    </a:band2H>
    <a:band1V>
      <a:tcStyle>
        <a:tcBdr/>
      </a:tcStyle>
    </a:band1V>
    <a:band2V>
      <a:tcStyle>
        <a:tcBdr/>
      </a:tcStyle>
    </a:band2V>
    <a:lastCol>
      <a:tcStyle>
        <a:tcBdr/>
      </a:tcStyle>
    </a:lastCol>
    <a:firstCol>
      <a:tcStyle>
        <a:tcBdr/>
      </a:tcStyle>
    </a:firstCol>
    <a:lastRow>
      <a:tcStyle>
        <a:tcBdr/>
      </a:tcStyle>
    </a:lastRow>
    <a:firstRow>
      <a:tcTxStyle b="off">
        <a:fontRef idx="minor">
          <a:prstClr val="white"/>
        </a:fontRef>
        <a:srgbClr val="7BEFB2"/>
      </a:tcTxStyle>
      <a:tcStyle>
        <a:tcBdr>
          <a:bottom>
            <a:ln w="12700" cap="flat" cmpd="sng" algn="ctr">
              <a:solidFill>
                <a:srgbClr val="7BEFB2"/>
              </a:solidFill>
              <a:prstDash val="solid"/>
            </a:ln>
          </a:bottom>
        </a:tcBdr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3586" autoAdjust="0"/>
    <p:restoredTop sz="94660"/>
  </p:normalViewPr>
  <p:slideViewPr>
    <p:cSldViewPr snapToGrid="0">
      <p:cViewPr varScale="1">
        <p:scale>
          <a:sx n="107" d="100"/>
          <a:sy n="107" d="100"/>
        </p:scale>
        <p:origin x="150" y="18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tableStyles" Target="tableStyles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commentAuthors" Target="commentAuthors.xml"/><Relationship Id="rId2" Type="http://schemas.openxmlformats.org/officeDocument/2006/relationships/customXml" Target="../customXml/item2.xml"/><Relationship Id="rId16" Type="http://schemas.openxmlformats.org/officeDocument/2006/relationships/tags" Target="tags/tag1.xml"/><Relationship Id="rId20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5" Type="http://schemas.openxmlformats.org/officeDocument/2006/relationships/slideMaster" Target="slideMasters/slideMaster2.xml"/><Relationship Id="rId15" Type="http://schemas.openxmlformats.org/officeDocument/2006/relationships/notesMaster" Target="notesMasters/notesMaster1.xml"/><Relationship Id="rId23" Type="http://schemas.microsoft.com/office/2015/10/relationships/revisionInfo" Target="revisionInfo.xml"/><Relationship Id="rId10" Type="http://schemas.openxmlformats.org/officeDocument/2006/relationships/slide" Target="slides/slide5.xml"/><Relationship Id="rId19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Ivar Yrke" userId="f36eb98d-9700-4ec6-9cfd-67daf3750017" providerId="ADAL" clId="{E386B95B-4CC8-48FC-A115-F57F1401E14C}"/>
    <pc:docChg chg="undo custSel addSld delSld modSld sldOrd modSection">
      <pc:chgData name="Ivar Yrke" userId="f36eb98d-9700-4ec6-9cfd-67daf3750017" providerId="ADAL" clId="{E386B95B-4CC8-48FC-A115-F57F1401E14C}" dt="2023-05-25T06:12:58.729" v="1167"/>
      <pc:docMkLst>
        <pc:docMk/>
      </pc:docMkLst>
      <pc:sldChg chg="modSp mod">
        <pc:chgData name="Ivar Yrke" userId="f36eb98d-9700-4ec6-9cfd-67daf3750017" providerId="ADAL" clId="{E386B95B-4CC8-48FC-A115-F57F1401E14C}" dt="2023-05-12T12:29:29.417" v="935" actId="20577"/>
        <pc:sldMkLst>
          <pc:docMk/>
          <pc:sldMk cId="3440891726" sldId="256"/>
        </pc:sldMkLst>
        <pc:spChg chg="mod">
          <ac:chgData name="Ivar Yrke" userId="f36eb98d-9700-4ec6-9cfd-67daf3750017" providerId="ADAL" clId="{E386B95B-4CC8-48FC-A115-F57F1401E14C}" dt="2023-05-12T12:17:18.053" v="562" actId="207"/>
          <ac:spMkLst>
            <pc:docMk/>
            <pc:sldMk cId="3440891726" sldId="256"/>
            <ac:spMk id="2" creationId="{9875A323-F6DC-4830-A22C-8562C0DCDE9C}"/>
          </ac:spMkLst>
        </pc:spChg>
        <pc:spChg chg="mod">
          <ac:chgData name="Ivar Yrke" userId="f36eb98d-9700-4ec6-9cfd-67daf3750017" providerId="ADAL" clId="{E386B95B-4CC8-48FC-A115-F57F1401E14C}" dt="2023-05-12T12:29:29.417" v="935" actId="20577"/>
          <ac:spMkLst>
            <pc:docMk/>
            <pc:sldMk cId="3440891726" sldId="256"/>
            <ac:spMk id="5" creationId="{B32BFC86-FB65-40DE-B69A-E0554F256037}"/>
          </ac:spMkLst>
        </pc:spChg>
      </pc:sldChg>
      <pc:sldChg chg="modSp mod">
        <pc:chgData name="Ivar Yrke" userId="f36eb98d-9700-4ec6-9cfd-67daf3750017" providerId="ADAL" clId="{E386B95B-4CC8-48FC-A115-F57F1401E14C}" dt="2023-05-12T12:13:09.737" v="449" actId="20577"/>
        <pc:sldMkLst>
          <pc:docMk/>
          <pc:sldMk cId="3662573195" sldId="258"/>
        </pc:sldMkLst>
        <pc:spChg chg="mod">
          <ac:chgData name="Ivar Yrke" userId="f36eb98d-9700-4ec6-9cfd-67daf3750017" providerId="ADAL" clId="{E386B95B-4CC8-48FC-A115-F57F1401E14C}" dt="2023-05-12T12:13:09.737" v="449" actId="20577"/>
          <ac:spMkLst>
            <pc:docMk/>
            <pc:sldMk cId="3662573195" sldId="258"/>
            <ac:spMk id="3" creationId="{5F352EF9-4CC6-4686-A232-E64572C341AF}"/>
          </ac:spMkLst>
        </pc:spChg>
        <pc:spChg chg="mod">
          <ac:chgData name="Ivar Yrke" userId="f36eb98d-9700-4ec6-9cfd-67daf3750017" providerId="ADAL" clId="{E386B95B-4CC8-48FC-A115-F57F1401E14C}" dt="2023-05-12T11:54:41.837" v="31" actId="20577"/>
          <ac:spMkLst>
            <pc:docMk/>
            <pc:sldMk cId="3662573195" sldId="258"/>
            <ac:spMk id="4" creationId="{66E275BF-ABE2-4B2D-8144-69BD1760648C}"/>
          </ac:spMkLst>
        </pc:spChg>
      </pc:sldChg>
      <pc:sldChg chg="del">
        <pc:chgData name="Ivar Yrke" userId="f36eb98d-9700-4ec6-9cfd-67daf3750017" providerId="ADAL" clId="{E386B95B-4CC8-48FC-A115-F57F1401E14C}" dt="2023-05-12T12:10:06.296" v="326" actId="47"/>
        <pc:sldMkLst>
          <pc:docMk/>
          <pc:sldMk cId="3165195561" sldId="259"/>
        </pc:sldMkLst>
      </pc:sldChg>
      <pc:sldChg chg="del">
        <pc:chgData name="Ivar Yrke" userId="f36eb98d-9700-4ec6-9cfd-67daf3750017" providerId="ADAL" clId="{E386B95B-4CC8-48FC-A115-F57F1401E14C}" dt="2023-05-12T12:10:09.411" v="327" actId="47"/>
        <pc:sldMkLst>
          <pc:docMk/>
          <pc:sldMk cId="1234247478" sldId="260"/>
        </pc:sldMkLst>
      </pc:sldChg>
      <pc:sldChg chg="del">
        <pc:chgData name="Ivar Yrke" userId="f36eb98d-9700-4ec6-9cfd-67daf3750017" providerId="ADAL" clId="{E386B95B-4CC8-48FC-A115-F57F1401E14C}" dt="2023-05-12T12:10:14.410" v="328" actId="47"/>
        <pc:sldMkLst>
          <pc:docMk/>
          <pc:sldMk cId="1047969637" sldId="261"/>
        </pc:sldMkLst>
      </pc:sldChg>
      <pc:sldChg chg="modSp mod">
        <pc:chgData name="Ivar Yrke" userId="f36eb98d-9700-4ec6-9cfd-67daf3750017" providerId="ADAL" clId="{E386B95B-4CC8-48FC-A115-F57F1401E14C}" dt="2023-05-12T12:20:09.692" v="733" actId="20577"/>
        <pc:sldMkLst>
          <pc:docMk/>
          <pc:sldMk cId="1024089532" sldId="262"/>
        </pc:sldMkLst>
        <pc:spChg chg="mod">
          <ac:chgData name="Ivar Yrke" userId="f36eb98d-9700-4ec6-9cfd-67daf3750017" providerId="ADAL" clId="{E386B95B-4CC8-48FC-A115-F57F1401E14C}" dt="2023-05-12T12:20:09.692" v="733" actId="20577"/>
          <ac:spMkLst>
            <pc:docMk/>
            <pc:sldMk cId="1024089532" sldId="262"/>
            <ac:spMk id="7" creationId="{89D0CD27-A822-4165-A00D-152EBAB5F02F}"/>
          </ac:spMkLst>
        </pc:spChg>
      </pc:sldChg>
      <pc:sldChg chg="del">
        <pc:chgData name="Ivar Yrke" userId="f36eb98d-9700-4ec6-9cfd-67daf3750017" providerId="ADAL" clId="{E386B95B-4CC8-48FC-A115-F57F1401E14C}" dt="2023-05-12T12:20:26.491" v="734" actId="47"/>
        <pc:sldMkLst>
          <pc:docMk/>
          <pc:sldMk cId="1775980789" sldId="263"/>
        </pc:sldMkLst>
      </pc:sldChg>
      <pc:sldChg chg="addSp delSp modSp mod ord">
        <pc:chgData name="Ivar Yrke" userId="f36eb98d-9700-4ec6-9cfd-67daf3750017" providerId="ADAL" clId="{E386B95B-4CC8-48FC-A115-F57F1401E14C}" dt="2023-05-25T06:12:58.729" v="1167"/>
        <pc:sldMkLst>
          <pc:docMk/>
          <pc:sldMk cId="393709490" sldId="264"/>
        </pc:sldMkLst>
        <pc:spChg chg="mod">
          <ac:chgData name="Ivar Yrke" userId="f36eb98d-9700-4ec6-9cfd-67daf3750017" providerId="ADAL" clId="{E386B95B-4CC8-48FC-A115-F57F1401E14C}" dt="2023-05-12T12:58:54.682" v="1106" actId="6549"/>
          <ac:spMkLst>
            <pc:docMk/>
            <pc:sldMk cId="393709490" sldId="264"/>
            <ac:spMk id="2" creationId="{C6F1963A-CEA4-4B72-995D-1F3C45B04934}"/>
          </ac:spMkLst>
        </pc:spChg>
        <pc:spChg chg="mod">
          <ac:chgData name="Ivar Yrke" userId="f36eb98d-9700-4ec6-9cfd-67daf3750017" providerId="ADAL" clId="{E386B95B-4CC8-48FC-A115-F57F1401E14C}" dt="2023-05-12T12:02:25.816" v="303" actId="20577"/>
          <ac:spMkLst>
            <pc:docMk/>
            <pc:sldMk cId="393709490" sldId="264"/>
            <ac:spMk id="8" creationId="{1EA6BF71-EA9D-4B8B-885E-6DC7B8BDFF5D}"/>
          </ac:spMkLst>
        </pc:spChg>
        <pc:spChg chg="mod">
          <ac:chgData name="Ivar Yrke" userId="f36eb98d-9700-4ec6-9cfd-67daf3750017" providerId="ADAL" clId="{E386B95B-4CC8-48FC-A115-F57F1401E14C}" dt="2023-05-12T12:00:58.070" v="291" actId="1076"/>
          <ac:spMkLst>
            <pc:docMk/>
            <pc:sldMk cId="393709490" sldId="264"/>
            <ac:spMk id="9" creationId="{EEF7E4FE-9F17-4C31-BB8C-92053C7F5617}"/>
          </ac:spMkLst>
        </pc:spChg>
        <pc:spChg chg="mod">
          <ac:chgData name="Ivar Yrke" userId="f36eb98d-9700-4ec6-9cfd-67daf3750017" providerId="ADAL" clId="{E386B95B-4CC8-48FC-A115-F57F1401E14C}" dt="2023-05-12T13:02:29.444" v="1107" actId="122"/>
          <ac:spMkLst>
            <pc:docMk/>
            <pc:sldMk cId="393709490" sldId="264"/>
            <ac:spMk id="10" creationId="{AE7067C6-3C10-431E-901B-7DD30BE58115}"/>
          </ac:spMkLst>
        </pc:spChg>
        <pc:spChg chg="mod">
          <ac:chgData name="Ivar Yrke" userId="f36eb98d-9700-4ec6-9cfd-67daf3750017" providerId="ADAL" clId="{E386B95B-4CC8-48FC-A115-F57F1401E14C}" dt="2023-05-12T12:01:28.093" v="295" actId="1076"/>
          <ac:spMkLst>
            <pc:docMk/>
            <pc:sldMk cId="393709490" sldId="264"/>
            <ac:spMk id="11" creationId="{3FC7ACB9-8151-4FE1-8B04-40BA50E62C96}"/>
          </ac:spMkLst>
        </pc:spChg>
        <pc:spChg chg="add mod">
          <ac:chgData name="Ivar Yrke" userId="f36eb98d-9700-4ec6-9cfd-67daf3750017" providerId="ADAL" clId="{E386B95B-4CC8-48FC-A115-F57F1401E14C}" dt="2023-05-12T12:02:06.744" v="298" actId="1076"/>
          <ac:spMkLst>
            <pc:docMk/>
            <pc:sldMk cId="393709490" sldId="264"/>
            <ac:spMk id="18" creationId="{59FD637D-A8D2-201D-59D4-2BE24EE80C7A}"/>
          </ac:spMkLst>
        </pc:spChg>
        <pc:spChg chg="add mod">
          <ac:chgData name="Ivar Yrke" userId="f36eb98d-9700-4ec6-9cfd-67daf3750017" providerId="ADAL" clId="{E386B95B-4CC8-48FC-A115-F57F1401E14C}" dt="2023-05-12T12:13:30.624" v="470" actId="14100"/>
          <ac:spMkLst>
            <pc:docMk/>
            <pc:sldMk cId="393709490" sldId="264"/>
            <ac:spMk id="27" creationId="{DAF79AA3-692D-C320-A8B3-9733F8FFC4AF}"/>
          </ac:spMkLst>
        </pc:spChg>
        <pc:spChg chg="del">
          <ac:chgData name="Ivar Yrke" userId="f36eb98d-9700-4ec6-9cfd-67daf3750017" providerId="ADAL" clId="{E386B95B-4CC8-48FC-A115-F57F1401E14C}" dt="2023-05-12T12:01:35.304" v="296" actId="478"/>
          <ac:spMkLst>
            <pc:docMk/>
            <pc:sldMk cId="393709490" sldId="264"/>
            <ac:spMk id="29" creationId="{36F8F871-D368-4548-94D7-54899C3656B1}"/>
          </ac:spMkLst>
        </pc:spChg>
        <pc:spChg chg="del mod">
          <ac:chgData name="Ivar Yrke" userId="f36eb98d-9700-4ec6-9cfd-67daf3750017" providerId="ADAL" clId="{E386B95B-4CC8-48FC-A115-F57F1401E14C}" dt="2023-05-12T12:00:52.675" v="290" actId="478"/>
          <ac:spMkLst>
            <pc:docMk/>
            <pc:sldMk cId="393709490" sldId="264"/>
            <ac:spMk id="43" creationId="{2290C8B4-A6F1-46C8-9015-6C2FDB67FBD2}"/>
          </ac:spMkLst>
        </pc:spChg>
        <pc:cxnChg chg="mod">
          <ac:chgData name="Ivar Yrke" userId="f36eb98d-9700-4ec6-9cfd-67daf3750017" providerId="ADAL" clId="{E386B95B-4CC8-48FC-A115-F57F1401E14C}" dt="2023-05-12T12:58:37.511" v="1096" actId="14100"/>
          <ac:cxnSpMkLst>
            <pc:docMk/>
            <pc:sldMk cId="393709490" sldId="264"/>
            <ac:cxnSpMk id="13" creationId="{922A2384-757A-4430-8C92-09F6B9ED3DD9}"/>
          </ac:cxnSpMkLst>
        </pc:cxnChg>
        <pc:cxnChg chg="mod">
          <ac:chgData name="Ivar Yrke" userId="f36eb98d-9700-4ec6-9cfd-67daf3750017" providerId="ADAL" clId="{E386B95B-4CC8-48FC-A115-F57F1401E14C}" dt="2023-05-12T12:01:00.667" v="292" actId="1076"/>
          <ac:cxnSpMkLst>
            <pc:docMk/>
            <pc:sldMk cId="393709490" sldId="264"/>
            <ac:cxnSpMk id="15" creationId="{4A36860E-EE72-4EB2-A10B-03AC41097D03}"/>
          </ac:cxnSpMkLst>
        </pc:cxnChg>
        <pc:cxnChg chg="del mod">
          <ac:chgData name="Ivar Yrke" userId="f36eb98d-9700-4ec6-9cfd-67daf3750017" providerId="ADAL" clId="{E386B95B-4CC8-48FC-A115-F57F1401E14C}" dt="2023-05-12T12:00:46.900" v="288" actId="478"/>
          <ac:cxnSpMkLst>
            <pc:docMk/>
            <pc:sldMk cId="393709490" sldId="264"/>
            <ac:cxnSpMk id="19" creationId="{5EB503FB-6BEC-47FF-8BF5-A5D94303F22E}"/>
          </ac:cxnSpMkLst>
        </pc:cxnChg>
        <pc:cxnChg chg="mod">
          <ac:chgData name="Ivar Yrke" userId="f36eb98d-9700-4ec6-9cfd-67daf3750017" providerId="ADAL" clId="{E386B95B-4CC8-48FC-A115-F57F1401E14C}" dt="2023-05-12T12:01:28.093" v="295" actId="1076"/>
          <ac:cxnSpMkLst>
            <pc:docMk/>
            <pc:sldMk cId="393709490" sldId="264"/>
            <ac:cxnSpMk id="21" creationId="{2824E378-DBF2-478A-99FE-CA4DC402FF6D}"/>
          </ac:cxnSpMkLst>
        </pc:cxnChg>
        <pc:cxnChg chg="mod">
          <ac:chgData name="Ivar Yrke" userId="f36eb98d-9700-4ec6-9cfd-67daf3750017" providerId="ADAL" clId="{E386B95B-4CC8-48FC-A115-F57F1401E14C}" dt="2023-05-12T12:02:21.256" v="299" actId="1076"/>
          <ac:cxnSpMkLst>
            <pc:docMk/>
            <pc:sldMk cId="393709490" sldId="264"/>
            <ac:cxnSpMk id="25" creationId="{911616A4-671D-4F5E-A277-E463DD674FD9}"/>
          </ac:cxnSpMkLst>
        </pc:cxnChg>
        <pc:cxnChg chg="add mod">
          <ac:chgData name="Ivar Yrke" userId="f36eb98d-9700-4ec6-9cfd-67daf3750017" providerId="ADAL" clId="{E386B95B-4CC8-48FC-A115-F57F1401E14C}" dt="2023-05-12T12:13:30.624" v="470" actId="14100"/>
          <ac:cxnSpMkLst>
            <pc:docMk/>
            <pc:sldMk cId="393709490" sldId="264"/>
            <ac:cxnSpMk id="28" creationId="{A03497D9-9FEE-5260-FB00-4EBA4BDA89DC}"/>
          </ac:cxnSpMkLst>
        </pc:cxnChg>
        <pc:cxnChg chg="del mod">
          <ac:chgData name="Ivar Yrke" userId="f36eb98d-9700-4ec6-9cfd-67daf3750017" providerId="ADAL" clId="{E386B95B-4CC8-48FC-A115-F57F1401E14C}" dt="2023-05-12T12:02:36.136" v="304" actId="478"/>
          <ac:cxnSpMkLst>
            <pc:docMk/>
            <pc:sldMk cId="393709490" sldId="264"/>
            <ac:cxnSpMk id="32" creationId="{9387F217-1B9A-4642-A215-FB54107E2D3B}"/>
          </ac:cxnSpMkLst>
        </pc:cxnChg>
        <pc:cxnChg chg="mod">
          <ac:chgData name="Ivar Yrke" userId="f36eb98d-9700-4ec6-9cfd-67daf3750017" providerId="ADAL" clId="{E386B95B-4CC8-48FC-A115-F57F1401E14C}" dt="2023-05-12T12:02:21.256" v="299" actId="1076"/>
          <ac:cxnSpMkLst>
            <pc:docMk/>
            <pc:sldMk cId="393709490" sldId="264"/>
            <ac:cxnSpMk id="36" creationId="{CB91D78B-9FF1-42AA-ADFF-B36EF294C3EB}"/>
          </ac:cxnSpMkLst>
        </pc:cxnChg>
        <pc:cxnChg chg="mod">
          <ac:chgData name="Ivar Yrke" userId="f36eb98d-9700-4ec6-9cfd-67daf3750017" providerId="ADAL" clId="{E386B95B-4CC8-48FC-A115-F57F1401E14C}" dt="2023-05-12T12:02:21.256" v="299" actId="1076"/>
          <ac:cxnSpMkLst>
            <pc:docMk/>
            <pc:sldMk cId="393709490" sldId="264"/>
            <ac:cxnSpMk id="37" creationId="{4C521B8B-D7B7-4C3F-B2D3-9435BB4F8F32}"/>
          </ac:cxnSpMkLst>
        </pc:cxnChg>
        <pc:cxnChg chg="mod">
          <ac:chgData name="Ivar Yrke" userId="f36eb98d-9700-4ec6-9cfd-67daf3750017" providerId="ADAL" clId="{E386B95B-4CC8-48FC-A115-F57F1401E14C}" dt="2023-05-12T12:02:21.256" v="299" actId="1076"/>
          <ac:cxnSpMkLst>
            <pc:docMk/>
            <pc:sldMk cId="393709490" sldId="264"/>
            <ac:cxnSpMk id="48" creationId="{460046C3-E4C3-4348-9E8A-470F889BCBA9}"/>
          </ac:cxnSpMkLst>
        </pc:cxnChg>
      </pc:sldChg>
      <pc:sldChg chg="del">
        <pc:chgData name="Ivar Yrke" userId="f36eb98d-9700-4ec6-9cfd-67daf3750017" providerId="ADAL" clId="{E386B95B-4CC8-48FC-A115-F57F1401E14C}" dt="2023-05-12T12:27:54.217" v="888" actId="47"/>
        <pc:sldMkLst>
          <pc:docMk/>
          <pc:sldMk cId="529016909" sldId="265"/>
        </pc:sldMkLst>
      </pc:sldChg>
      <pc:sldChg chg="modSp mod">
        <pc:chgData name="Ivar Yrke" userId="f36eb98d-9700-4ec6-9cfd-67daf3750017" providerId="ADAL" clId="{E386B95B-4CC8-48FC-A115-F57F1401E14C}" dt="2023-05-12T12:24:51.584" v="868" actId="20577"/>
        <pc:sldMkLst>
          <pc:docMk/>
          <pc:sldMk cId="1012585780" sldId="266"/>
        </pc:sldMkLst>
        <pc:spChg chg="mod">
          <ac:chgData name="Ivar Yrke" userId="f36eb98d-9700-4ec6-9cfd-67daf3750017" providerId="ADAL" clId="{E386B95B-4CC8-48FC-A115-F57F1401E14C}" dt="2023-05-12T12:24:51.584" v="868" actId="20577"/>
          <ac:spMkLst>
            <pc:docMk/>
            <pc:sldMk cId="1012585780" sldId="266"/>
            <ac:spMk id="7" creationId="{89D0CD27-A822-4165-A00D-152EBAB5F02F}"/>
          </ac:spMkLst>
        </pc:spChg>
      </pc:sldChg>
      <pc:sldChg chg="modSp mod">
        <pc:chgData name="Ivar Yrke" userId="f36eb98d-9700-4ec6-9cfd-67daf3750017" providerId="ADAL" clId="{E386B95B-4CC8-48FC-A115-F57F1401E14C}" dt="2023-05-12T13:13:06.625" v="1165" actId="20577"/>
        <pc:sldMkLst>
          <pc:docMk/>
          <pc:sldMk cId="2321608404" sldId="267"/>
        </pc:sldMkLst>
        <pc:spChg chg="mod">
          <ac:chgData name="Ivar Yrke" userId="f36eb98d-9700-4ec6-9cfd-67daf3750017" providerId="ADAL" clId="{E386B95B-4CC8-48FC-A115-F57F1401E14C}" dt="2023-05-12T13:13:06.625" v="1165" actId="20577"/>
          <ac:spMkLst>
            <pc:docMk/>
            <pc:sldMk cId="2321608404" sldId="267"/>
            <ac:spMk id="7" creationId="{89D0CD27-A822-4165-A00D-152EBAB5F02F}"/>
          </ac:spMkLst>
        </pc:spChg>
      </pc:sldChg>
      <pc:sldChg chg="delSp modSp new mod ord">
        <pc:chgData name="Ivar Yrke" userId="f36eb98d-9700-4ec6-9cfd-67daf3750017" providerId="ADAL" clId="{E386B95B-4CC8-48FC-A115-F57F1401E14C}" dt="2023-05-12T12:15:17.354" v="500" actId="20577"/>
        <pc:sldMkLst>
          <pc:docMk/>
          <pc:sldMk cId="201553595" sldId="268"/>
        </pc:sldMkLst>
        <pc:spChg chg="del">
          <ac:chgData name="Ivar Yrke" userId="f36eb98d-9700-4ec6-9cfd-67daf3750017" providerId="ADAL" clId="{E386B95B-4CC8-48FC-A115-F57F1401E14C}" dt="2023-05-12T12:11:21.013" v="350" actId="478"/>
          <ac:spMkLst>
            <pc:docMk/>
            <pc:sldMk cId="201553595" sldId="268"/>
            <ac:spMk id="2" creationId="{DB48EE38-3DB9-81C8-7788-66B9DF677B15}"/>
          </ac:spMkLst>
        </pc:spChg>
        <pc:spChg chg="mod">
          <ac:chgData name="Ivar Yrke" userId="f36eb98d-9700-4ec6-9cfd-67daf3750017" providerId="ADAL" clId="{E386B95B-4CC8-48FC-A115-F57F1401E14C}" dt="2023-05-12T12:15:17.354" v="500" actId="20577"/>
          <ac:spMkLst>
            <pc:docMk/>
            <pc:sldMk cId="201553595" sldId="268"/>
            <ac:spMk id="3" creationId="{1E7CF9FC-89AA-2ABD-BD9A-68DCF784A8B5}"/>
          </ac:spMkLst>
        </pc:spChg>
        <pc:spChg chg="mod">
          <ac:chgData name="Ivar Yrke" userId="f36eb98d-9700-4ec6-9cfd-67daf3750017" providerId="ADAL" clId="{E386B95B-4CC8-48FC-A115-F57F1401E14C}" dt="2023-05-12T12:11:17.305" v="349" actId="20577"/>
          <ac:spMkLst>
            <pc:docMk/>
            <pc:sldMk cId="201553595" sldId="268"/>
            <ac:spMk id="4" creationId="{1DD7E18B-6C82-E243-C3CD-B45EDB48A79E}"/>
          </ac:spMkLst>
        </pc:spChg>
        <pc:spChg chg="del">
          <ac:chgData name="Ivar Yrke" userId="f36eb98d-9700-4ec6-9cfd-67daf3750017" providerId="ADAL" clId="{E386B95B-4CC8-48FC-A115-F57F1401E14C}" dt="2023-05-12T12:10:37.669" v="332" actId="478"/>
          <ac:spMkLst>
            <pc:docMk/>
            <pc:sldMk cId="201553595" sldId="268"/>
            <ac:spMk id="5" creationId="{B0DF02FA-78B4-6BAB-C9D0-C3F7398A505D}"/>
          </ac:spMkLst>
        </pc:spChg>
      </pc:sldChg>
      <pc:sldChg chg="new del ord">
        <pc:chgData name="Ivar Yrke" userId="f36eb98d-9700-4ec6-9cfd-67daf3750017" providerId="ADAL" clId="{E386B95B-4CC8-48FC-A115-F57F1401E14C}" dt="2023-05-12T12:28:18.143" v="893" actId="47"/>
        <pc:sldMkLst>
          <pc:docMk/>
          <pc:sldMk cId="290362749" sldId="269"/>
        </pc:sldMkLst>
      </pc:sldChg>
      <pc:sldChg chg="modSp add mod ord">
        <pc:chgData name="Ivar Yrke" userId="f36eb98d-9700-4ec6-9cfd-67daf3750017" providerId="ADAL" clId="{E386B95B-4CC8-48FC-A115-F57F1401E14C}" dt="2023-05-12T12:53:34.268" v="1081" actId="20577"/>
        <pc:sldMkLst>
          <pc:docMk/>
          <pc:sldMk cId="1123994549" sldId="270"/>
        </pc:sldMkLst>
        <pc:spChg chg="mod">
          <ac:chgData name="Ivar Yrke" userId="f36eb98d-9700-4ec6-9cfd-67daf3750017" providerId="ADAL" clId="{E386B95B-4CC8-48FC-A115-F57F1401E14C}" dt="2023-05-12T12:46:37.504" v="960" actId="20577"/>
          <ac:spMkLst>
            <pc:docMk/>
            <pc:sldMk cId="1123994549" sldId="270"/>
            <ac:spMk id="4" creationId="{F5635863-81E2-4D91-9905-879E561EC23B}"/>
          </ac:spMkLst>
        </pc:spChg>
        <pc:spChg chg="mod">
          <ac:chgData name="Ivar Yrke" userId="f36eb98d-9700-4ec6-9cfd-67daf3750017" providerId="ADAL" clId="{E386B95B-4CC8-48FC-A115-F57F1401E14C}" dt="2023-05-12T12:53:34.268" v="1081" actId="20577"/>
          <ac:spMkLst>
            <pc:docMk/>
            <pc:sldMk cId="1123994549" sldId="270"/>
            <ac:spMk id="7" creationId="{89D0CD27-A822-4165-A00D-152EBAB5F02F}"/>
          </ac:spMkLst>
        </pc:spChg>
      </pc:sldChg>
      <pc:sldChg chg="new del">
        <pc:chgData name="Ivar Yrke" userId="f36eb98d-9700-4ec6-9cfd-67daf3750017" providerId="ADAL" clId="{E386B95B-4CC8-48FC-A115-F57F1401E14C}" dt="2023-05-12T12:30:24.531" v="937" actId="47"/>
        <pc:sldMkLst>
          <pc:docMk/>
          <pc:sldMk cId="30855896" sldId="271"/>
        </pc:sldMkLst>
      </pc:sldChg>
      <pc:sldChg chg="addSp delSp modSp add mod modClrScheme chgLayout">
        <pc:chgData name="Ivar Yrke" userId="f36eb98d-9700-4ec6-9cfd-67daf3750017" providerId="ADAL" clId="{E386B95B-4CC8-48FC-A115-F57F1401E14C}" dt="2023-05-12T12:34:20.675" v="954" actId="1076"/>
        <pc:sldMkLst>
          <pc:docMk/>
          <pc:sldMk cId="1730058666" sldId="271"/>
        </pc:sldMkLst>
        <pc:spChg chg="add del mod ord">
          <ac:chgData name="Ivar Yrke" userId="f36eb98d-9700-4ec6-9cfd-67daf3750017" providerId="ADAL" clId="{E386B95B-4CC8-48FC-A115-F57F1401E14C}" dt="2023-05-12T12:34:05.296" v="952" actId="478"/>
          <ac:spMkLst>
            <pc:docMk/>
            <pc:sldMk cId="1730058666" sldId="271"/>
            <ac:spMk id="3" creationId="{928FCE9F-7FE5-9244-D5C4-23A43F3FA5A9}"/>
          </ac:spMkLst>
        </pc:spChg>
        <pc:spChg chg="mod ord">
          <ac:chgData name="Ivar Yrke" userId="f36eb98d-9700-4ec6-9cfd-67daf3750017" providerId="ADAL" clId="{E386B95B-4CC8-48FC-A115-F57F1401E14C}" dt="2023-05-12T12:33:56.092" v="951" actId="700"/>
          <ac:spMkLst>
            <pc:docMk/>
            <pc:sldMk cId="1730058666" sldId="271"/>
            <ac:spMk id="4" creationId="{F5635863-81E2-4D91-9905-879E561EC23B}"/>
          </ac:spMkLst>
        </pc:spChg>
        <pc:spChg chg="add del mod ord">
          <ac:chgData name="Ivar Yrke" userId="f36eb98d-9700-4ec6-9cfd-67daf3750017" providerId="ADAL" clId="{E386B95B-4CC8-48FC-A115-F57F1401E14C}" dt="2023-05-12T12:33:56.092" v="951" actId="700"/>
          <ac:spMkLst>
            <pc:docMk/>
            <pc:sldMk cId="1730058666" sldId="271"/>
            <ac:spMk id="5" creationId="{5E07A7C6-719D-2CD4-A984-ABBD25BC53FB}"/>
          </ac:spMkLst>
        </pc:spChg>
        <pc:spChg chg="del">
          <ac:chgData name="Ivar Yrke" userId="f36eb98d-9700-4ec6-9cfd-67daf3750017" providerId="ADAL" clId="{E386B95B-4CC8-48FC-A115-F57F1401E14C}" dt="2023-05-12T12:30:50.669" v="949" actId="478"/>
          <ac:spMkLst>
            <pc:docMk/>
            <pc:sldMk cId="1730058666" sldId="271"/>
            <ac:spMk id="7" creationId="{89D0CD27-A822-4165-A00D-152EBAB5F02F}"/>
          </ac:spMkLst>
        </pc:spChg>
        <pc:picChg chg="add mod">
          <ac:chgData name="Ivar Yrke" userId="f36eb98d-9700-4ec6-9cfd-67daf3750017" providerId="ADAL" clId="{E386B95B-4CC8-48FC-A115-F57F1401E14C}" dt="2023-05-12T12:34:20.675" v="954" actId="1076"/>
          <ac:picMkLst>
            <pc:docMk/>
            <pc:sldMk cId="1730058666" sldId="271"/>
            <ac:picMk id="1026" creationId="{224A8351-4A43-9F85-FBDC-BC1D0E7CA504}"/>
          </ac:picMkLst>
        </pc:pic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76BD5B7-9404-40C7-817E-9023E69D5D4D}" type="datetimeFigureOut">
              <a:rPr lang="en-US" smtClean="0"/>
              <a:t>5/25/20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43AF18D-B48D-49E7-8D29-6F850C173A2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5479577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457200" rtl="0" eaLnBrk="1" latinLnBrk="0" hangingPunct="1">
      <a:defRPr sz="600" kern="1200">
        <a:solidFill>
          <a:schemeClr val="tx1"/>
        </a:solidFill>
        <a:latin typeface="+mn-lt"/>
        <a:ea typeface="+mn-ea"/>
        <a:cs typeface="+mn-cs"/>
      </a:defRPr>
    </a:lvl1pPr>
    <a:lvl2pPr marL="228600" algn="l" defTabSz="457200" rtl="0" eaLnBrk="1" latinLnBrk="0" hangingPunct="1">
      <a:defRPr sz="600" kern="1200">
        <a:solidFill>
          <a:schemeClr val="tx1"/>
        </a:solidFill>
        <a:latin typeface="+mn-lt"/>
        <a:ea typeface="+mn-ea"/>
        <a:cs typeface="+mn-cs"/>
      </a:defRPr>
    </a:lvl2pPr>
    <a:lvl3pPr marL="457200" algn="l" defTabSz="457200" rtl="0" eaLnBrk="1" latinLnBrk="0" hangingPunct="1">
      <a:defRPr sz="600" kern="1200">
        <a:solidFill>
          <a:schemeClr val="tx1"/>
        </a:solidFill>
        <a:latin typeface="+mn-lt"/>
        <a:ea typeface="+mn-ea"/>
        <a:cs typeface="+mn-cs"/>
      </a:defRPr>
    </a:lvl3pPr>
    <a:lvl4pPr marL="685800" algn="l" defTabSz="457200" rtl="0" eaLnBrk="1" latinLnBrk="0" hangingPunct="1">
      <a:defRPr sz="600" kern="1200">
        <a:solidFill>
          <a:schemeClr val="tx1"/>
        </a:solidFill>
        <a:latin typeface="+mn-lt"/>
        <a:ea typeface="+mn-ea"/>
        <a:cs typeface="+mn-cs"/>
      </a:defRPr>
    </a:lvl4pPr>
    <a:lvl5pPr marL="914400" algn="l" defTabSz="457200" rtl="0" eaLnBrk="1" latinLnBrk="0" hangingPunct="1">
      <a:defRPr sz="600" kern="1200">
        <a:solidFill>
          <a:schemeClr val="tx1"/>
        </a:solidFill>
        <a:latin typeface="+mn-lt"/>
        <a:ea typeface="+mn-ea"/>
        <a:cs typeface="+mn-cs"/>
      </a:defRPr>
    </a:lvl5pPr>
    <a:lvl6pPr marL="1143000" algn="l" defTabSz="457200" rtl="0" eaLnBrk="1" latinLnBrk="0" hangingPunct="1">
      <a:defRPr sz="600" kern="1200">
        <a:solidFill>
          <a:schemeClr val="tx1"/>
        </a:solidFill>
        <a:latin typeface="+mn-lt"/>
        <a:ea typeface="+mn-ea"/>
        <a:cs typeface="+mn-cs"/>
      </a:defRPr>
    </a:lvl6pPr>
    <a:lvl7pPr marL="1371600" algn="l" defTabSz="457200" rtl="0" eaLnBrk="1" latinLnBrk="0" hangingPunct="1">
      <a:defRPr sz="600" kern="1200">
        <a:solidFill>
          <a:schemeClr val="tx1"/>
        </a:solidFill>
        <a:latin typeface="+mn-lt"/>
        <a:ea typeface="+mn-ea"/>
        <a:cs typeface="+mn-cs"/>
      </a:defRPr>
    </a:lvl7pPr>
    <a:lvl8pPr marL="1600200" algn="l" defTabSz="457200" rtl="0" eaLnBrk="1" latinLnBrk="0" hangingPunct="1">
      <a:defRPr sz="600" kern="1200">
        <a:solidFill>
          <a:schemeClr val="tx1"/>
        </a:solidFill>
        <a:latin typeface="+mn-lt"/>
        <a:ea typeface="+mn-ea"/>
        <a:cs typeface="+mn-cs"/>
      </a:defRPr>
    </a:lvl8pPr>
    <a:lvl9pPr marL="1828800" algn="l" defTabSz="457200" rtl="0" eaLnBrk="1" latinLnBrk="0" hangingPunct="1">
      <a:defRPr sz="6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7" Type="http://schemas.openxmlformats.org/officeDocument/2006/relationships/image" Target="../media/image7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Forsi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phic 8">
            <a:extLst>
              <a:ext uri="{FF2B5EF4-FFF2-40B4-BE49-F238E27FC236}">
                <a16:creationId xmlns:a16="http://schemas.microsoft.com/office/drawing/2014/main" id="{B73C7EC3-35FE-48E3-9DA5-83D053C36DE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l="24008" t="14296" b="29454"/>
          <a:stretch/>
        </p:blipFill>
        <p:spPr>
          <a:xfrm>
            <a:off x="0" y="0"/>
            <a:ext cx="9264996" cy="6858001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34963" y="2329977"/>
            <a:ext cx="7597775" cy="3619973"/>
          </a:xfrm>
        </p:spPr>
        <p:txBody>
          <a:bodyPr lIns="0" anchor="t"/>
          <a:lstStyle>
            <a:lvl1pPr algn="l">
              <a:defRPr sz="7001">
                <a:solidFill>
                  <a:schemeClr val="tx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34963" y="1916113"/>
            <a:ext cx="7597775" cy="226800"/>
          </a:xfrm>
        </p:spPr>
        <p:txBody>
          <a:bodyPr lIns="36000" anchor="b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500">
                <a:solidFill>
                  <a:schemeClr val="accent3"/>
                </a:solidFill>
                <a:latin typeface="+mj-lt"/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148639" y="6297825"/>
            <a:ext cx="3708399" cy="226800"/>
          </a:xfrm>
        </p:spPr>
        <p:txBody>
          <a:bodyPr rIns="36000"/>
          <a:lstStyle>
            <a:lvl1pPr algn="r">
              <a:defRPr sz="1500">
                <a:solidFill>
                  <a:schemeClr val="bg2"/>
                </a:solidFill>
              </a:defRPr>
            </a:lvl1pPr>
          </a:lstStyle>
          <a:p>
            <a:endParaRPr lang="en-US"/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3E20DC8A-7922-4E87-934E-94417500FB3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 t="48288" r="70387"/>
          <a:stretch/>
        </p:blipFill>
        <p:spPr>
          <a:xfrm>
            <a:off x="8520185" y="0"/>
            <a:ext cx="3671815" cy="6411954"/>
          </a:xfrm>
          <a:prstGeom prst="rect">
            <a:avLst/>
          </a:prstGeom>
        </p:spPr>
      </p:pic>
      <p:pic>
        <p:nvPicPr>
          <p:cNvPr id="6" name="Graphic 5">
            <a:extLst>
              <a:ext uri="{FF2B5EF4-FFF2-40B4-BE49-F238E27FC236}">
                <a16:creationId xmlns:a16="http://schemas.microsoft.com/office/drawing/2014/main" id="{A1B4446B-A7F2-4BBA-ABFF-C05406537421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375603" y="6363759"/>
            <a:ext cx="1683184" cy="1449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482414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stort bil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4963" y="1803420"/>
            <a:ext cx="3718581" cy="2497230"/>
          </a:xfrm>
        </p:spPr>
        <p:txBody>
          <a:bodyPr anchor="t"/>
          <a:lstStyle>
            <a:lvl1pPr>
              <a:lnSpc>
                <a:spcPct val="100000"/>
              </a:lnSpc>
              <a:defRPr sz="4001"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FAB4F056-8D2E-43DE-9B1C-57045AB2860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56233" y="1341438"/>
            <a:ext cx="3686400" cy="226800"/>
          </a:xfrm>
        </p:spPr>
        <p:txBody>
          <a:bodyPr lIns="36000" rIns="36000" anchor="b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500">
                <a:solidFill>
                  <a:schemeClr val="accent1"/>
                </a:solidFill>
                <a:latin typeface="+mj-lt"/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endParaRPr lang="en-US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93E69A02-BC16-4E66-BB7F-88712DA3A27E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262993" y="369137"/>
            <a:ext cx="7562247" cy="6120521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80264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med bilde og grafikk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aphic 6">
            <a:extLst>
              <a:ext uri="{FF2B5EF4-FFF2-40B4-BE49-F238E27FC236}">
                <a16:creationId xmlns:a16="http://schemas.microsoft.com/office/drawing/2014/main" id="{3A27129B-9B09-4C4F-96FA-0120442FFF1A}"/>
              </a:ext>
            </a:extLst>
          </p:cNvPr>
          <p:cNvGrpSpPr/>
          <p:nvPr/>
        </p:nvGrpSpPr>
        <p:grpSpPr>
          <a:xfrm>
            <a:off x="5753849" y="389304"/>
            <a:ext cx="6071738" cy="6071650"/>
            <a:chOff x="5753849" y="389304"/>
            <a:chExt cx="6071738" cy="6071650"/>
          </a:xfrm>
        </p:grpSpPr>
        <p:sp>
          <p:nvSpPr>
            <p:cNvPr id="3" name="Freeform: Shape 2">
              <a:extLst>
                <a:ext uri="{FF2B5EF4-FFF2-40B4-BE49-F238E27FC236}">
                  <a16:creationId xmlns:a16="http://schemas.microsoft.com/office/drawing/2014/main" id="{76634209-94FF-4EC7-8676-1CB9ED3DB4F3}"/>
                </a:ext>
              </a:extLst>
            </p:cNvPr>
            <p:cNvSpPr/>
            <p:nvPr/>
          </p:nvSpPr>
          <p:spPr>
            <a:xfrm>
              <a:off x="9396891" y="1603634"/>
              <a:ext cx="1214347" cy="1214330"/>
            </a:xfrm>
            <a:custGeom>
              <a:avLst/>
              <a:gdLst>
                <a:gd name="connsiteX0" fmla="*/ 607174 w 1214347"/>
                <a:gd name="connsiteY0" fmla="*/ 0 h 1214330"/>
                <a:gd name="connsiteX1" fmla="*/ 607174 w 1214347"/>
                <a:gd name="connsiteY1" fmla="*/ 0 h 1214330"/>
                <a:gd name="connsiteX2" fmla="*/ 1214348 w 1214347"/>
                <a:gd name="connsiteY2" fmla="*/ 607165 h 1214330"/>
                <a:gd name="connsiteX3" fmla="*/ 607174 w 1214347"/>
                <a:gd name="connsiteY3" fmla="*/ 1214330 h 1214330"/>
                <a:gd name="connsiteX4" fmla="*/ 0 w 1214347"/>
                <a:gd name="connsiteY4" fmla="*/ 607165 h 1214330"/>
                <a:gd name="connsiteX5" fmla="*/ 607174 w 1214347"/>
                <a:gd name="connsiteY5" fmla="*/ 0 h 12143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214347" h="1214330">
                  <a:moveTo>
                    <a:pt x="607174" y="0"/>
                  </a:moveTo>
                  <a:lnTo>
                    <a:pt x="607174" y="0"/>
                  </a:lnTo>
                  <a:cubicBezTo>
                    <a:pt x="942384" y="0"/>
                    <a:pt x="1214348" y="271959"/>
                    <a:pt x="1214348" y="607165"/>
                  </a:cubicBezTo>
                  <a:cubicBezTo>
                    <a:pt x="1214348" y="942371"/>
                    <a:pt x="942384" y="1214330"/>
                    <a:pt x="607174" y="1214330"/>
                  </a:cubicBezTo>
                  <a:cubicBezTo>
                    <a:pt x="271963" y="1214330"/>
                    <a:pt x="0" y="942371"/>
                    <a:pt x="0" y="607165"/>
                  </a:cubicBezTo>
                  <a:cubicBezTo>
                    <a:pt x="0" y="271959"/>
                    <a:pt x="271963" y="0"/>
                    <a:pt x="607174" y="0"/>
                  </a:cubicBezTo>
                </a:path>
              </a:pathLst>
            </a:custGeom>
            <a:solidFill>
              <a:srgbClr val="12A680"/>
            </a:solidFill>
            <a:ln w="632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b-NO"/>
            </a:p>
          </p:txBody>
        </p:sp>
        <p:sp>
          <p:nvSpPr>
            <p:cNvPr id="4" name="Freeform: Shape 3">
              <a:extLst>
                <a:ext uri="{FF2B5EF4-FFF2-40B4-BE49-F238E27FC236}">
                  <a16:creationId xmlns:a16="http://schemas.microsoft.com/office/drawing/2014/main" id="{79E32023-56A1-4315-B81B-5838861C375D}"/>
                </a:ext>
              </a:extLst>
            </p:cNvPr>
            <p:cNvSpPr/>
            <p:nvPr/>
          </p:nvSpPr>
          <p:spPr>
            <a:xfrm>
              <a:off x="8182544" y="2817964"/>
              <a:ext cx="3643042" cy="1214330"/>
            </a:xfrm>
            <a:custGeom>
              <a:avLst/>
              <a:gdLst>
                <a:gd name="connsiteX0" fmla="*/ 607174 w 3643042"/>
                <a:gd name="connsiteY0" fmla="*/ 0 h 1214330"/>
                <a:gd name="connsiteX1" fmla="*/ 3035869 w 3643042"/>
                <a:gd name="connsiteY1" fmla="*/ 0 h 1214330"/>
                <a:gd name="connsiteX2" fmla="*/ 3643043 w 3643042"/>
                <a:gd name="connsiteY2" fmla="*/ 607165 h 1214330"/>
                <a:gd name="connsiteX3" fmla="*/ 3035869 w 3643042"/>
                <a:gd name="connsiteY3" fmla="*/ 1214330 h 1214330"/>
                <a:gd name="connsiteX4" fmla="*/ 607174 w 3643042"/>
                <a:gd name="connsiteY4" fmla="*/ 1214330 h 1214330"/>
                <a:gd name="connsiteX5" fmla="*/ 0 w 3643042"/>
                <a:gd name="connsiteY5" fmla="*/ 607165 h 1214330"/>
                <a:gd name="connsiteX6" fmla="*/ 607174 w 3643042"/>
                <a:gd name="connsiteY6" fmla="*/ 0 h 12143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643042" h="1214330">
                  <a:moveTo>
                    <a:pt x="607174" y="0"/>
                  </a:moveTo>
                  <a:lnTo>
                    <a:pt x="3035869" y="0"/>
                  </a:lnTo>
                  <a:cubicBezTo>
                    <a:pt x="3371080" y="0"/>
                    <a:pt x="3643043" y="271959"/>
                    <a:pt x="3643043" y="607165"/>
                  </a:cubicBezTo>
                  <a:cubicBezTo>
                    <a:pt x="3643043" y="942371"/>
                    <a:pt x="3371080" y="1214330"/>
                    <a:pt x="3035869" y="1214330"/>
                  </a:cubicBezTo>
                  <a:lnTo>
                    <a:pt x="607174" y="1214330"/>
                  </a:lnTo>
                  <a:cubicBezTo>
                    <a:pt x="271963" y="1214330"/>
                    <a:pt x="0" y="942371"/>
                    <a:pt x="0" y="607165"/>
                  </a:cubicBezTo>
                  <a:cubicBezTo>
                    <a:pt x="0" y="271959"/>
                    <a:pt x="271963" y="0"/>
                    <a:pt x="607174" y="0"/>
                  </a:cubicBezTo>
                </a:path>
              </a:pathLst>
            </a:custGeom>
            <a:solidFill>
              <a:srgbClr val="C4F2D9"/>
            </a:solidFill>
            <a:ln w="632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b-NO"/>
            </a:p>
          </p:txBody>
        </p:sp>
        <p:sp>
          <p:nvSpPr>
            <p:cNvPr id="5" name="Freeform: Shape 4">
              <a:extLst>
                <a:ext uri="{FF2B5EF4-FFF2-40B4-BE49-F238E27FC236}">
                  <a16:creationId xmlns:a16="http://schemas.microsoft.com/office/drawing/2014/main" id="{CD3D99EC-EC5C-4741-9081-4473B76D70ED}"/>
                </a:ext>
              </a:extLst>
            </p:cNvPr>
            <p:cNvSpPr/>
            <p:nvPr/>
          </p:nvSpPr>
          <p:spPr>
            <a:xfrm>
              <a:off x="5753849" y="389304"/>
              <a:ext cx="2428695" cy="1214330"/>
            </a:xfrm>
            <a:custGeom>
              <a:avLst/>
              <a:gdLst>
                <a:gd name="connsiteX0" fmla="*/ 607174 w 2428695"/>
                <a:gd name="connsiteY0" fmla="*/ 0 h 1214330"/>
                <a:gd name="connsiteX1" fmla="*/ 1821521 w 2428695"/>
                <a:gd name="connsiteY1" fmla="*/ 0 h 1214330"/>
                <a:gd name="connsiteX2" fmla="*/ 2428695 w 2428695"/>
                <a:gd name="connsiteY2" fmla="*/ 607165 h 1214330"/>
                <a:gd name="connsiteX3" fmla="*/ 1821521 w 2428695"/>
                <a:gd name="connsiteY3" fmla="*/ 1214330 h 1214330"/>
                <a:gd name="connsiteX4" fmla="*/ 607174 w 2428695"/>
                <a:gd name="connsiteY4" fmla="*/ 1214330 h 1214330"/>
                <a:gd name="connsiteX5" fmla="*/ 0 w 2428695"/>
                <a:gd name="connsiteY5" fmla="*/ 607165 h 1214330"/>
                <a:gd name="connsiteX6" fmla="*/ 607174 w 2428695"/>
                <a:gd name="connsiteY6" fmla="*/ 0 h 12143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428695" h="1214330">
                  <a:moveTo>
                    <a:pt x="607174" y="0"/>
                  </a:moveTo>
                  <a:lnTo>
                    <a:pt x="1821521" y="0"/>
                  </a:lnTo>
                  <a:cubicBezTo>
                    <a:pt x="2156732" y="0"/>
                    <a:pt x="2428695" y="271959"/>
                    <a:pt x="2428695" y="607165"/>
                  </a:cubicBezTo>
                  <a:cubicBezTo>
                    <a:pt x="2428695" y="942371"/>
                    <a:pt x="2156732" y="1214330"/>
                    <a:pt x="1821521" y="1214330"/>
                  </a:cubicBezTo>
                  <a:lnTo>
                    <a:pt x="607174" y="1214330"/>
                  </a:lnTo>
                  <a:cubicBezTo>
                    <a:pt x="271963" y="1214330"/>
                    <a:pt x="0" y="942371"/>
                    <a:pt x="0" y="607165"/>
                  </a:cubicBezTo>
                  <a:cubicBezTo>
                    <a:pt x="0" y="271959"/>
                    <a:pt x="271963" y="0"/>
                    <a:pt x="607174" y="0"/>
                  </a:cubicBezTo>
                </a:path>
              </a:pathLst>
            </a:custGeom>
            <a:solidFill>
              <a:srgbClr val="7AF0B2"/>
            </a:solidFill>
            <a:ln w="632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b-NO"/>
            </a:p>
          </p:txBody>
        </p:sp>
        <p:sp>
          <p:nvSpPr>
            <p:cNvPr id="9" name="Freeform: Shape 8">
              <a:extLst>
                <a:ext uri="{FF2B5EF4-FFF2-40B4-BE49-F238E27FC236}">
                  <a16:creationId xmlns:a16="http://schemas.microsoft.com/office/drawing/2014/main" id="{C692051B-FA3D-40FE-90E6-D826DAF3CA0E}"/>
                </a:ext>
              </a:extLst>
            </p:cNvPr>
            <p:cNvSpPr/>
            <p:nvPr/>
          </p:nvSpPr>
          <p:spPr>
            <a:xfrm>
              <a:off x="9396891" y="5246624"/>
              <a:ext cx="1214347" cy="1214330"/>
            </a:xfrm>
            <a:custGeom>
              <a:avLst/>
              <a:gdLst>
                <a:gd name="connsiteX0" fmla="*/ 0 w 1214347"/>
                <a:gd name="connsiteY0" fmla="*/ 0 h 1214330"/>
                <a:gd name="connsiteX1" fmla="*/ 1214348 w 1214347"/>
                <a:gd name="connsiteY1" fmla="*/ 0 h 1214330"/>
                <a:gd name="connsiteX2" fmla="*/ 1214348 w 1214347"/>
                <a:gd name="connsiteY2" fmla="*/ 1214330 h 1214330"/>
                <a:gd name="connsiteX3" fmla="*/ 0 w 1214347"/>
                <a:gd name="connsiteY3" fmla="*/ 1214330 h 12143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14347" h="1214330">
                  <a:moveTo>
                    <a:pt x="0" y="0"/>
                  </a:moveTo>
                  <a:lnTo>
                    <a:pt x="1214348" y="0"/>
                  </a:lnTo>
                  <a:lnTo>
                    <a:pt x="1214348" y="1214330"/>
                  </a:lnTo>
                  <a:lnTo>
                    <a:pt x="0" y="1214330"/>
                  </a:lnTo>
                  <a:close/>
                </a:path>
              </a:pathLst>
            </a:custGeom>
            <a:solidFill>
              <a:srgbClr val="12A680"/>
            </a:solidFill>
            <a:ln w="632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b-NO"/>
            </a:p>
          </p:txBody>
        </p:sp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67DF0D91-CA39-4795-A49A-70587AE55346}"/>
                </a:ext>
              </a:extLst>
            </p:cNvPr>
            <p:cNvSpPr/>
            <p:nvPr/>
          </p:nvSpPr>
          <p:spPr>
            <a:xfrm>
              <a:off x="10611239" y="389304"/>
              <a:ext cx="1214347" cy="1214330"/>
            </a:xfrm>
            <a:custGeom>
              <a:avLst/>
              <a:gdLst>
                <a:gd name="connsiteX0" fmla="*/ 0 w 1214347"/>
                <a:gd name="connsiteY0" fmla="*/ 0 h 1214330"/>
                <a:gd name="connsiteX1" fmla="*/ 1214348 w 1214347"/>
                <a:gd name="connsiteY1" fmla="*/ 0 h 1214330"/>
                <a:gd name="connsiteX2" fmla="*/ 1214348 w 1214347"/>
                <a:gd name="connsiteY2" fmla="*/ 1214330 h 1214330"/>
                <a:gd name="connsiteX3" fmla="*/ 0 w 1214347"/>
                <a:gd name="connsiteY3" fmla="*/ 1214330 h 12143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14347" h="1214330">
                  <a:moveTo>
                    <a:pt x="0" y="0"/>
                  </a:moveTo>
                  <a:lnTo>
                    <a:pt x="1214348" y="0"/>
                  </a:lnTo>
                  <a:lnTo>
                    <a:pt x="1214348" y="1214330"/>
                  </a:lnTo>
                  <a:lnTo>
                    <a:pt x="0" y="1214330"/>
                  </a:lnTo>
                  <a:close/>
                </a:path>
              </a:pathLst>
            </a:custGeom>
            <a:solidFill>
              <a:srgbClr val="005945"/>
            </a:solidFill>
            <a:ln w="632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b-NO"/>
            </a:p>
          </p:txBody>
        </p:sp>
      </p:grpSp>
      <p:sp>
        <p:nvSpPr>
          <p:cNvPr id="10" name="Subtitle 2">
            <a:extLst>
              <a:ext uri="{FF2B5EF4-FFF2-40B4-BE49-F238E27FC236}">
                <a16:creationId xmlns:a16="http://schemas.microsoft.com/office/drawing/2014/main" id="{FAB4F056-8D2E-43DE-9B1C-57045AB2860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34963" y="5296513"/>
            <a:ext cx="3919744" cy="971662"/>
          </a:xfrm>
        </p:spPr>
        <p:txBody>
          <a:bodyPr lIns="36000" rIns="3600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500">
                <a:solidFill>
                  <a:schemeClr val="accent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endParaRPr lang="en-US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93E69A02-BC16-4E66-BB7F-88712DA3A27E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211109" y="743037"/>
            <a:ext cx="3658076" cy="5334617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endParaRPr lang="en-US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FF3862DE-0E7D-6647-A684-932C654011C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963" y="1803420"/>
            <a:ext cx="3924300" cy="2497230"/>
          </a:xfrm>
        </p:spPr>
        <p:txBody>
          <a:bodyPr anchor="t"/>
          <a:lstStyle>
            <a:lvl1pPr>
              <a:lnSpc>
                <a:spcPct val="100000"/>
              </a:lnSpc>
              <a:defRPr sz="4001"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803545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f 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4963" y="1916113"/>
            <a:ext cx="3708400" cy="1421191"/>
          </a:xfrm>
        </p:spPr>
        <p:txBody>
          <a:bodyPr anchor="t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4B0B2E75-84F0-4E85-9B77-833285E056D5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34963" y="1341438"/>
            <a:ext cx="3708400" cy="226800"/>
          </a:xfrm>
        </p:spPr>
        <p:txBody>
          <a:bodyPr lIns="36000" rIns="36000" anchor="b"/>
          <a:lstStyle>
            <a:lvl1pPr marL="0" indent="0" algn="l">
              <a:buNone/>
              <a:defRPr sz="1500">
                <a:solidFill>
                  <a:schemeClr val="accent1"/>
                </a:solidFill>
                <a:latin typeface="+mj-lt"/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endParaRPr lang="en-US"/>
          </a:p>
        </p:txBody>
      </p:sp>
      <p:sp>
        <p:nvSpPr>
          <p:cNvPr id="17" name="Text Placeholder 12">
            <a:extLst>
              <a:ext uri="{FF2B5EF4-FFF2-40B4-BE49-F238E27FC236}">
                <a16:creationId xmlns:a16="http://schemas.microsoft.com/office/drawing/2014/main" id="{B50895A1-CF8F-4C61-A985-610DEC2E2E9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34963" y="5297638"/>
            <a:ext cx="3708400" cy="1224566"/>
          </a:xfrm>
          <a:prstGeom prst="rect">
            <a:avLst/>
          </a:prstGeom>
        </p:spPr>
        <p:txBody>
          <a:bodyPr lIns="36000" tIns="0" rIns="36000" bIns="0"/>
          <a:lstStyle>
            <a:lvl1pPr marL="0" indent="0" algn="l">
              <a:lnSpc>
                <a:spcPct val="120000"/>
              </a:lnSpc>
              <a:spcBef>
                <a:spcPts val="900"/>
              </a:spcBef>
              <a:spcAft>
                <a:spcPts val="0"/>
              </a:spcAft>
              <a:buClrTx/>
              <a:buFont typeface="Arial" panose="020B0604020202020204" pitchFamily="34" charset="0"/>
              <a:buNone/>
              <a:defRPr sz="1200" b="0" i="0" u="none" cap="none">
                <a:solidFill>
                  <a:srgbClr val="000000"/>
                </a:solidFill>
                <a:latin typeface="+mn-lt"/>
              </a:defRPr>
            </a:lvl1pPr>
            <a:lvl2pPr marL="685834" indent="-228611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200" b="0" i="0" u="none" cap="none">
                <a:solidFill>
                  <a:srgbClr val="000000"/>
                </a:solidFill>
                <a:latin typeface="+mn-lt"/>
              </a:defRPr>
            </a:lvl2pPr>
            <a:lvl3pPr marL="1143057" indent="-228611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200" b="0" i="0" u="none" cap="none">
                <a:solidFill>
                  <a:srgbClr val="000000"/>
                </a:solidFill>
                <a:latin typeface="+mn-lt"/>
              </a:defRPr>
            </a:lvl3pPr>
            <a:lvl4pPr marL="1600280" indent="-228611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200" b="0" i="0" u="none" cap="none">
                <a:solidFill>
                  <a:srgbClr val="000000"/>
                </a:solidFill>
                <a:latin typeface="+mn-lt"/>
              </a:defRPr>
            </a:lvl4pPr>
            <a:lvl5pPr marL="2057503" indent="-228611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200" b="0" i="0" u="none" cap="none">
                <a:solidFill>
                  <a:srgbClr val="000000"/>
                </a:solidFill>
                <a:latin typeface="+mn-lt"/>
              </a:defRPr>
            </a:lvl5pPr>
          </a:lstStyle>
          <a:p>
            <a:pPr lvl="0"/>
            <a:endParaRPr lang="en-US"/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C8020507-8BDC-495B-90BA-3E4B6D7A3183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4683735" y="1341438"/>
            <a:ext cx="6426436" cy="518076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/>
            </a:lvl1pPr>
          </a:lstStyle>
          <a:p>
            <a:pPr lvl="0"/>
            <a:r>
              <a:rPr lang="nb-NO"/>
              <a:t>Graf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926397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f lig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BD8800F9-0EC2-4F3A-94A3-C59346FABB89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334964" y="1916113"/>
            <a:ext cx="11522074" cy="460851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/>
            </a:lvl1pPr>
          </a:lstStyle>
          <a:p>
            <a:pPr lvl="0"/>
            <a:r>
              <a:rPr lang="nb-NO"/>
              <a:t>Graf</a:t>
            </a:r>
            <a:endParaRPr lang="en-US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35D7228F-D39A-45F9-A141-3017F0D637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963" y="769938"/>
            <a:ext cx="11522074" cy="571500"/>
          </a:xfrm>
        </p:spPr>
        <p:txBody>
          <a:bodyPr anchor="t"/>
          <a:lstStyle>
            <a:lvl1pPr>
              <a:defRPr sz="4001"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B387D2E1-2535-1848-9495-C138903AE59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34962" y="333375"/>
            <a:ext cx="11522075" cy="226800"/>
          </a:xfrm>
        </p:spPr>
        <p:txBody>
          <a:bodyPr lIns="36000" rIns="36000" anchor="b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500">
                <a:solidFill>
                  <a:schemeClr val="accent1"/>
                </a:solidFill>
                <a:latin typeface="+mj-lt"/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704565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e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BD8800F9-0EC2-4F3A-94A3-C59346FABB89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2323372" y="1916113"/>
            <a:ext cx="9533665" cy="460851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/>
            </a:lvl1pPr>
          </a:lstStyle>
          <a:p>
            <a:pPr lvl="0"/>
            <a:r>
              <a:rPr lang="nb-NO"/>
              <a:t>Tabell</a:t>
            </a:r>
            <a:endParaRPr lang="en-US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06E26A68-806D-F94E-A8A1-C10887F18E3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962" y="1916113"/>
            <a:ext cx="1798637" cy="259523"/>
          </a:xfrm>
        </p:spPr>
        <p:txBody>
          <a:bodyPr anchor="t"/>
          <a:lstStyle>
            <a:lvl1pPr>
              <a:defRPr sz="1400">
                <a:solidFill>
                  <a:schemeClr val="accent1"/>
                </a:solidFill>
                <a:latin typeface="+mn-lt"/>
              </a:defRPr>
            </a:lvl1pPr>
          </a:lstStyle>
          <a:p>
            <a:endParaRPr lang="en-US"/>
          </a:p>
        </p:txBody>
      </p:sp>
      <p:sp>
        <p:nvSpPr>
          <p:cNvPr id="6" name="Text Placeholder 9">
            <a:extLst>
              <a:ext uri="{FF2B5EF4-FFF2-40B4-BE49-F238E27FC236}">
                <a16:creationId xmlns:a16="http://schemas.microsoft.com/office/drawing/2014/main" id="{A15293E5-6601-684A-A2C6-D3F4630F1B71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334963" y="2924176"/>
            <a:ext cx="1798637" cy="3025774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20000"/>
              </a:lnSpc>
              <a:spcBef>
                <a:spcPts val="900"/>
              </a:spcBef>
              <a:spcAft>
                <a:spcPts val="0"/>
              </a:spcAft>
              <a:buClrTx/>
              <a:buFontTx/>
              <a:buNone/>
              <a:defRPr sz="1200" b="0" i="0" u="none" cap="none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029955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e med k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4962" y="333375"/>
            <a:ext cx="1798637" cy="259523"/>
          </a:xfrm>
        </p:spPr>
        <p:txBody>
          <a:bodyPr anchor="t"/>
          <a:lstStyle>
            <a:lvl1pPr>
              <a:defRPr sz="1400">
                <a:solidFill>
                  <a:schemeClr val="accent1"/>
                </a:solidFill>
                <a:latin typeface="+mn-lt"/>
              </a:defRPr>
            </a:lvl1pPr>
          </a:lstStyle>
          <a:p>
            <a:endParaRPr lang="en-US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256CA2A9-C30D-42EE-AD5E-6E9D48B86DFB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334963" y="1341437"/>
            <a:ext cx="1798637" cy="5183187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20000"/>
              </a:lnSpc>
              <a:spcBef>
                <a:spcPts val="900"/>
              </a:spcBef>
              <a:spcAft>
                <a:spcPts val="0"/>
              </a:spcAft>
              <a:buClrTx/>
              <a:buFontTx/>
              <a:buNone/>
              <a:defRPr sz="1200" b="0" i="0" u="none" cap="none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endParaRPr lang="en-US"/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4E1ADC21-6A28-4E9D-8769-1CAAD8FFB157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2340077" y="333376"/>
            <a:ext cx="9516960" cy="619125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lIns="0" tIns="0" rIns="0" bIns="0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070888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tat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23373" y="1341439"/>
            <a:ext cx="8119446" cy="3527688"/>
          </a:xfrm>
        </p:spPr>
        <p:txBody>
          <a:bodyPr anchor="t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4B0B2E75-84F0-4E85-9B77-833285E056D5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2323373" y="5165385"/>
            <a:ext cx="8119446" cy="320397"/>
          </a:xfrm>
        </p:spPr>
        <p:txBody>
          <a:bodyPr lIns="36000" rIns="36000" anchor="t" anchorCtr="0"/>
          <a:lstStyle>
            <a:lvl1pPr marL="0" indent="0" algn="l">
              <a:buNone/>
              <a:defRPr sz="1700" i="1">
                <a:solidFill>
                  <a:schemeClr val="accent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endParaRPr lang="en-US"/>
          </a:p>
        </p:txBody>
      </p:sp>
      <p:sp>
        <p:nvSpPr>
          <p:cNvPr id="5" name="Freeform: Shape 4">
            <a:extLst>
              <a:ext uri="{FF2B5EF4-FFF2-40B4-BE49-F238E27FC236}">
                <a16:creationId xmlns:a16="http://schemas.microsoft.com/office/drawing/2014/main" id="{F5E3F770-E0F6-465C-BBC1-78B361B9B8C4}"/>
              </a:ext>
            </a:extLst>
          </p:cNvPr>
          <p:cNvSpPr/>
          <p:nvPr userDrawn="1"/>
        </p:nvSpPr>
        <p:spPr>
          <a:xfrm rot="-2700000">
            <a:off x="1463463" y="1354378"/>
            <a:ext cx="479593" cy="479592"/>
          </a:xfrm>
          <a:custGeom>
            <a:avLst/>
            <a:gdLst>
              <a:gd name="connsiteX0" fmla="*/ 460352 w 479593"/>
              <a:gd name="connsiteY0" fmla="*/ 19241 h 479592"/>
              <a:gd name="connsiteX1" fmla="*/ 479593 w 479593"/>
              <a:gd name="connsiteY1" fmla="*/ 65693 h 479592"/>
              <a:gd name="connsiteX2" fmla="*/ 479592 w 479593"/>
              <a:gd name="connsiteY2" fmla="*/ 65693 h 479592"/>
              <a:gd name="connsiteX3" fmla="*/ 413899 w 479593"/>
              <a:gd name="connsiteY3" fmla="*/ 131386 h 479592"/>
              <a:gd name="connsiteX4" fmla="*/ 131385 w 479593"/>
              <a:gd name="connsiteY4" fmla="*/ 131385 h 479592"/>
              <a:gd name="connsiteX5" fmla="*/ 131386 w 479593"/>
              <a:gd name="connsiteY5" fmla="*/ 413898 h 479592"/>
              <a:gd name="connsiteX6" fmla="*/ 65693 w 479593"/>
              <a:gd name="connsiteY6" fmla="*/ 479591 h 479592"/>
              <a:gd name="connsiteX7" fmla="*/ 65693 w 479593"/>
              <a:gd name="connsiteY7" fmla="*/ 479592 h 479592"/>
              <a:gd name="connsiteX8" fmla="*/ 0 w 479593"/>
              <a:gd name="connsiteY8" fmla="*/ 413899 h 479592"/>
              <a:gd name="connsiteX9" fmla="*/ 0 w 479593"/>
              <a:gd name="connsiteY9" fmla="*/ 69013 h 479592"/>
              <a:gd name="connsiteX10" fmla="*/ 19241 w 479593"/>
              <a:gd name="connsiteY10" fmla="*/ 22561 h 479592"/>
              <a:gd name="connsiteX11" fmla="*/ 21226 w 479593"/>
              <a:gd name="connsiteY11" fmla="*/ 21222 h 479592"/>
              <a:gd name="connsiteX12" fmla="*/ 22562 w 479593"/>
              <a:gd name="connsiteY12" fmla="*/ 19241 h 479592"/>
              <a:gd name="connsiteX13" fmla="*/ 69014 w 479593"/>
              <a:gd name="connsiteY13" fmla="*/ 0 h 479592"/>
              <a:gd name="connsiteX14" fmla="*/ 413900 w 479593"/>
              <a:gd name="connsiteY14" fmla="*/ 0 h 479592"/>
              <a:gd name="connsiteX15" fmla="*/ 460352 w 479593"/>
              <a:gd name="connsiteY15" fmla="*/ 19241 h 4795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479593" h="479592">
                <a:moveTo>
                  <a:pt x="460352" y="19241"/>
                </a:moveTo>
                <a:cubicBezTo>
                  <a:pt x="472240" y="31129"/>
                  <a:pt x="479593" y="47553"/>
                  <a:pt x="479593" y="65693"/>
                </a:cubicBezTo>
                <a:lnTo>
                  <a:pt x="479592" y="65693"/>
                </a:lnTo>
                <a:cubicBezTo>
                  <a:pt x="479592" y="101974"/>
                  <a:pt x="450180" y="131386"/>
                  <a:pt x="413899" y="131386"/>
                </a:cubicBezTo>
                <a:lnTo>
                  <a:pt x="131385" y="131385"/>
                </a:lnTo>
                <a:lnTo>
                  <a:pt x="131386" y="413898"/>
                </a:lnTo>
                <a:cubicBezTo>
                  <a:pt x="131386" y="450179"/>
                  <a:pt x="101974" y="479591"/>
                  <a:pt x="65693" y="479591"/>
                </a:cubicBezTo>
                <a:lnTo>
                  <a:pt x="65693" y="479592"/>
                </a:lnTo>
                <a:cubicBezTo>
                  <a:pt x="29412" y="479592"/>
                  <a:pt x="0" y="450180"/>
                  <a:pt x="0" y="413899"/>
                </a:cubicBezTo>
                <a:lnTo>
                  <a:pt x="0" y="69013"/>
                </a:lnTo>
                <a:cubicBezTo>
                  <a:pt x="0" y="50872"/>
                  <a:pt x="7353" y="34449"/>
                  <a:pt x="19241" y="22561"/>
                </a:cubicBezTo>
                <a:lnTo>
                  <a:pt x="21226" y="21222"/>
                </a:lnTo>
                <a:lnTo>
                  <a:pt x="22562" y="19241"/>
                </a:lnTo>
                <a:cubicBezTo>
                  <a:pt x="34450" y="7353"/>
                  <a:pt x="50873" y="0"/>
                  <a:pt x="69014" y="0"/>
                </a:cubicBezTo>
                <a:lnTo>
                  <a:pt x="413900" y="0"/>
                </a:lnTo>
                <a:cubicBezTo>
                  <a:pt x="432041" y="0"/>
                  <a:pt x="448464" y="7353"/>
                  <a:pt x="460352" y="19241"/>
                </a:cubicBezTo>
                <a:close/>
              </a:path>
            </a:pathLst>
          </a:custGeom>
          <a:solidFill>
            <a:srgbClr val="02A6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l"/>
            <a:endParaRPr lang="nb-NO" sz="4000"/>
          </a:p>
        </p:txBody>
      </p:sp>
      <p:sp>
        <p:nvSpPr>
          <p:cNvPr id="6" name="Freeform: Shape 5">
            <a:extLst>
              <a:ext uri="{FF2B5EF4-FFF2-40B4-BE49-F238E27FC236}">
                <a16:creationId xmlns:a16="http://schemas.microsoft.com/office/drawing/2014/main" id="{2ECF2BD6-E23B-472A-BBF1-E20A3BB2DB49}"/>
              </a:ext>
            </a:extLst>
          </p:cNvPr>
          <p:cNvSpPr/>
          <p:nvPr userDrawn="1"/>
        </p:nvSpPr>
        <p:spPr>
          <a:xfrm rot="-2700000">
            <a:off x="1744452" y="1354378"/>
            <a:ext cx="479593" cy="479592"/>
          </a:xfrm>
          <a:custGeom>
            <a:avLst/>
            <a:gdLst>
              <a:gd name="connsiteX0" fmla="*/ 460352 w 479593"/>
              <a:gd name="connsiteY0" fmla="*/ 19241 h 479592"/>
              <a:gd name="connsiteX1" fmla="*/ 479593 w 479593"/>
              <a:gd name="connsiteY1" fmla="*/ 65693 h 479592"/>
              <a:gd name="connsiteX2" fmla="*/ 479592 w 479593"/>
              <a:gd name="connsiteY2" fmla="*/ 65693 h 479592"/>
              <a:gd name="connsiteX3" fmla="*/ 413899 w 479593"/>
              <a:gd name="connsiteY3" fmla="*/ 131386 h 479592"/>
              <a:gd name="connsiteX4" fmla="*/ 131385 w 479593"/>
              <a:gd name="connsiteY4" fmla="*/ 131385 h 479592"/>
              <a:gd name="connsiteX5" fmla="*/ 131386 w 479593"/>
              <a:gd name="connsiteY5" fmla="*/ 413898 h 479592"/>
              <a:gd name="connsiteX6" fmla="*/ 65693 w 479593"/>
              <a:gd name="connsiteY6" fmla="*/ 479591 h 479592"/>
              <a:gd name="connsiteX7" fmla="*/ 65693 w 479593"/>
              <a:gd name="connsiteY7" fmla="*/ 479592 h 479592"/>
              <a:gd name="connsiteX8" fmla="*/ 0 w 479593"/>
              <a:gd name="connsiteY8" fmla="*/ 413899 h 479592"/>
              <a:gd name="connsiteX9" fmla="*/ 0 w 479593"/>
              <a:gd name="connsiteY9" fmla="*/ 69013 h 479592"/>
              <a:gd name="connsiteX10" fmla="*/ 19241 w 479593"/>
              <a:gd name="connsiteY10" fmla="*/ 22561 h 479592"/>
              <a:gd name="connsiteX11" fmla="*/ 21226 w 479593"/>
              <a:gd name="connsiteY11" fmla="*/ 21222 h 479592"/>
              <a:gd name="connsiteX12" fmla="*/ 22562 w 479593"/>
              <a:gd name="connsiteY12" fmla="*/ 19241 h 479592"/>
              <a:gd name="connsiteX13" fmla="*/ 69014 w 479593"/>
              <a:gd name="connsiteY13" fmla="*/ 0 h 479592"/>
              <a:gd name="connsiteX14" fmla="*/ 413900 w 479593"/>
              <a:gd name="connsiteY14" fmla="*/ 0 h 479592"/>
              <a:gd name="connsiteX15" fmla="*/ 460352 w 479593"/>
              <a:gd name="connsiteY15" fmla="*/ 19241 h 4795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479593" h="479592">
                <a:moveTo>
                  <a:pt x="460352" y="19241"/>
                </a:moveTo>
                <a:cubicBezTo>
                  <a:pt x="472240" y="31129"/>
                  <a:pt x="479593" y="47553"/>
                  <a:pt x="479593" y="65693"/>
                </a:cubicBezTo>
                <a:lnTo>
                  <a:pt x="479592" y="65693"/>
                </a:lnTo>
                <a:cubicBezTo>
                  <a:pt x="479592" y="101974"/>
                  <a:pt x="450180" y="131386"/>
                  <a:pt x="413899" y="131386"/>
                </a:cubicBezTo>
                <a:lnTo>
                  <a:pt x="131385" y="131385"/>
                </a:lnTo>
                <a:lnTo>
                  <a:pt x="131386" y="413898"/>
                </a:lnTo>
                <a:cubicBezTo>
                  <a:pt x="131386" y="450179"/>
                  <a:pt x="101974" y="479591"/>
                  <a:pt x="65693" y="479591"/>
                </a:cubicBezTo>
                <a:lnTo>
                  <a:pt x="65693" y="479592"/>
                </a:lnTo>
                <a:cubicBezTo>
                  <a:pt x="29412" y="479592"/>
                  <a:pt x="0" y="450180"/>
                  <a:pt x="0" y="413899"/>
                </a:cubicBezTo>
                <a:lnTo>
                  <a:pt x="0" y="69013"/>
                </a:lnTo>
                <a:cubicBezTo>
                  <a:pt x="0" y="50872"/>
                  <a:pt x="7353" y="34449"/>
                  <a:pt x="19241" y="22561"/>
                </a:cubicBezTo>
                <a:lnTo>
                  <a:pt x="21226" y="21222"/>
                </a:lnTo>
                <a:lnTo>
                  <a:pt x="22562" y="19241"/>
                </a:lnTo>
                <a:cubicBezTo>
                  <a:pt x="34450" y="7353"/>
                  <a:pt x="50873" y="0"/>
                  <a:pt x="69014" y="0"/>
                </a:cubicBezTo>
                <a:lnTo>
                  <a:pt x="413900" y="0"/>
                </a:lnTo>
                <a:cubicBezTo>
                  <a:pt x="432041" y="0"/>
                  <a:pt x="448464" y="7353"/>
                  <a:pt x="460352" y="19241"/>
                </a:cubicBezTo>
                <a:close/>
              </a:path>
            </a:pathLst>
          </a:custGeom>
          <a:solidFill>
            <a:srgbClr val="02A6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l"/>
            <a:endParaRPr lang="nb-NO" sz="4000"/>
          </a:p>
        </p:txBody>
      </p:sp>
    </p:spTree>
    <p:extLst>
      <p:ext uri="{BB962C8B-B14F-4D97-AF65-F5344CB8AC3E}">
        <p14:creationId xmlns:p14="http://schemas.microsoft.com/office/powerpoint/2010/main" val="16634528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med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D551ED50-D245-9445-A906-0BE077219E3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962" y="769937"/>
            <a:ext cx="11522075" cy="1146175"/>
          </a:xfrm>
        </p:spPr>
        <p:txBody>
          <a:bodyPr anchor="t"/>
          <a:lstStyle>
            <a:lvl1pPr>
              <a:defRPr sz="4001"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4875F094-D9ED-F543-933A-DC6763B55A01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34961" y="333375"/>
            <a:ext cx="11523600" cy="226800"/>
          </a:xfrm>
        </p:spPr>
        <p:txBody>
          <a:bodyPr lIns="36000" rIns="36000" anchor="b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500">
                <a:solidFill>
                  <a:schemeClr val="accent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878717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335772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side (alternativ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34963" y="1916113"/>
            <a:ext cx="5106469" cy="226800"/>
          </a:xfrm>
        </p:spPr>
        <p:txBody>
          <a:bodyPr lIns="36000" anchor="b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500">
                <a:solidFill>
                  <a:schemeClr val="accent3"/>
                </a:solidFill>
                <a:latin typeface="+mj-lt"/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334963" y="6276226"/>
            <a:ext cx="3708400" cy="226800"/>
          </a:xfrm>
        </p:spPr>
        <p:txBody>
          <a:bodyPr lIns="36000" tIns="0" rIns="36000" bIns="0"/>
          <a:lstStyle>
            <a:lvl1pPr algn="l">
              <a:defRPr sz="1500">
                <a:solidFill>
                  <a:schemeClr val="accent3"/>
                </a:solidFill>
              </a:defRPr>
            </a:lvl1pPr>
          </a:lstStyle>
          <a:p>
            <a:endParaRPr lang="en-US"/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A1B4446B-A7F2-4BBA-ABFF-C0540653742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74400" y="397874"/>
            <a:ext cx="1683184" cy="144991"/>
          </a:xfrm>
          <a:prstGeom prst="rect">
            <a:avLst/>
          </a:prstGeom>
        </p:spPr>
      </p:pic>
      <p:sp>
        <p:nvSpPr>
          <p:cNvPr id="10" name="Title 1">
            <a:extLst>
              <a:ext uri="{FF2B5EF4-FFF2-40B4-BE49-F238E27FC236}">
                <a16:creationId xmlns:a16="http://schemas.microsoft.com/office/drawing/2014/main" id="{D1BB0084-C6EE-2543-A137-401FA40C537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34964" y="2329977"/>
            <a:ext cx="5109396" cy="3619973"/>
          </a:xfrm>
        </p:spPr>
        <p:txBody>
          <a:bodyPr lIns="0" anchor="t"/>
          <a:lstStyle>
            <a:lvl1pPr algn="l">
              <a:defRPr sz="5000">
                <a:solidFill>
                  <a:schemeClr val="tx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en-US"/>
          </a:p>
        </p:txBody>
      </p:sp>
      <p:grpSp>
        <p:nvGrpSpPr>
          <p:cNvPr id="2" name="Graphic 10">
            <a:extLst>
              <a:ext uri="{FF2B5EF4-FFF2-40B4-BE49-F238E27FC236}">
                <a16:creationId xmlns:a16="http://schemas.microsoft.com/office/drawing/2014/main" id="{8D61A240-85A0-4FCE-B46C-B8021C09289C}"/>
              </a:ext>
            </a:extLst>
          </p:cNvPr>
          <p:cNvGrpSpPr/>
          <p:nvPr/>
        </p:nvGrpSpPr>
        <p:grpSpPr>
          <a:xfrm>
            <a:off x="5735851" y="379314"/>
            <a:ext cx="6091105" cy="6091017"/>
            <a:chOff x="5735851" y="379314"/>
            <a:chExt cx="6091105" cy="6091017"/>
          </a:xfrm>
        </p:grpSpPr>
        <p:sp>
          <p:nvSpPr>
            <p:cNvPr id="5" name="Freeform: Shape 4">
              <a:extLst>
                <a:ext uri="{FF2B5EF4-FFF2-40B4-BE49-F238E27FC236}">
                  <a16:creationId xmlns:a16="http://schemas.microsoft.com/office/drawing/2014/main" id="{15EB8161-E565-4DD5-BEFB-11D099AE6540}"/>
                </a:ext>
              </a:extLst>
            </p:cNvPr>
            <p:cNvSpPr/>
            <p:nvPr/>
          </p:nvSpPr>
          <p:spPr>
            <a:xfrm>
              <a:off x="8781403" y="379314"/>
              <a:ext cx="3045552" cy="1522754"/>
            </a:xfrm>
            <a:custGeom>
              <a:avLst/>
              <a:gdLst>
                <a:gd name="connsiteX0" fmla="*/ 761388 w 3045552"/>
                <a:gd name="connsiteY0" fmla="*/ 0 h 1522754"/>
                <a:gd name="connsiteX1" fmla="*/ 2284165 w 3045552"/>
                <a:gd name="connsiteY1" fmla="*/ 0 h 1522754"/>
                <a:gd name="connsiteX2" fmla="*/ 3045553 w 3045552"/>
                <a:gd name="connsiteY2" fmla="*/ 761377 h 1522754"/>
                <a:gd name="connsiteX3" fmla="*/ 2284165 w 3045552"/>
                <a:gd name="connsiteY3" fmla="*/ 1522754 h 1522754"/>
                <a:gd name="connsiteX4" fmla="*/ 761388 w 3045552"/>
                <a:gd name="connsiteY4" fmla="*/ 1522754 h 1522754"/>
                <a:gd name="connsiteX5" fmla="*/ 0 w 3045552"/>
                <a:gd name="connsiteY5" fmla="*/ 761377 h 1522754"/>
                <a:gd name="connsiteX6" fmla="*/ 761388 w 3045552"/>
                <a:gd name="connsiteY6" fmla="*/ 0 h 15227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045552" h="1522754">
                  <a:moveTo>
                    <a:pt x="761388" y="0"/>
                  </a:moveTo>
                  <a:lnTo>
                    <a:pt x="2284165" y="0"/>
                  </a:lnTo>
                  <a:cubicBezTo>
                    <a:pt x="2704831" y="0"/>
                    <a:pt x="3045553" y="340716"/>
                    <a:pt x="3045553" y="761377"/>
                  </a:cubicBezTo>
                  <a:cubicBezTo>
                    <a:pt x="3045553" y="1182038"/>
                    <a:pt x="2704831" y="1522754"/>
                    <a:pt x="2284165" y="1522754"/>
                  </a:cubicBezTo>
                  <a:lnTo>
                    <a:pt x="761388" y="1522754"/>
                  </a:lnTo>
                  <a:cubicBezTo>
                    <a:pt x="340721" y="1522754"/>
                    <a:pt x="0" y="1182038"/>
                    <a:pt x="0" y="761377"/>
                  </a:cubicBezTo>
                  <a:cubicBezTo>
                    <a:pt x="0" y="340716"/>
                    <a:pt x="340721" y="0"/>
                    <a:pt x="761388" y="0"/>
                  </a:cubicBezTo>
                </a:path>
              </a:pathLst>
            </a:custGeom>
            <a:solidFill>
              <a:srgbClr val="03A680"/>
            </a:solidFill>
            <a:ln w="634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b-NO"/>
            </a:p>
          </p:txBody>
        </p:sp>
        <p:sp>
          <p:nvSpPr>
            <p:cNvPr id="7" name="Freeform: Shape 6">
              <a:extLst>
                <a:ext uri="{FF2B5EF4-FFF2-40B4-BE49-F238E27FC236}">
                  <a16:creationId xmlns:a16="http://schemas.microsoft.com/office/drawing/2014/main" id="{9D2061A7-F2FA-4F97-886F-BF3A54C0B1B7}"/>
                </a:ext>
              </a:extLst>
            </p:cNvPr>
            <p:cNvSpPr/>
            <p:nvPr/>
          </p:nvSpPr>
          <p:spPr>
            <a:xfrm>
              <a:off x="5735851" y="1902068"/>
              <a:ext cx="1522776" cy="1522754"/>
            </a:xfrm>
            <a:custGeom>
              <a:avLst/>
              <a:gdLst>
                <a:gd name="connsiteX0" fmla="*/ 761388 w 1522776"/>
                <a:gd name="connsiteY0" fmla="*/ 0 h 1522754"/>
                <a:gd name="connsiteX1" fmla="*/ 761388 w 1522776"/>
                <a:gd name="connsiteY1" fmla="*/ 0 h 1522754"/>
                <a:gd name="connsiteX2" fmla="*/ 0 w 1522776"/>
                <a:gd name="connsiteY2" fmla="*/ 761377 h 1522754"/>
                <a:gd name="connsiteX3" fmla="*/ 761388 w 1522776"/>
                <a:gd name="connsiteY3" fmla="*/ 1522754 h 1522754"/>
                <a:gd name="connsiteX4" fmla="*/ 1522776 w 1522776"/>
                <a:gd name="connsiteY4" fmla="*/ 761377 h 1522754"/>
                <a:gd name="connsiteX5" fmla="*/ 761388 w 1522776"/>
                <a:gd name="connsiteY5" fmla="*/ 0 h 15227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522776" h="1522754">
                  <a:moveTo>
                    <a:pt x="761388" y="0"/>
                  </a:moveTo>
                  <a:lnTo>
                    <a:pt x="761388" y="0"/>
                  </a:lnTo>
                  <a:cubicBezTo>
                    <a:pt x="340721" y="0"/>
                    <a:pt x="0" y="340716"/>
                    <a:pt x="0" y="761377"/>
                  </a:cubicBezTo>
                  <a:cubicBezTo>
                    <a:pt x="0" y="1182038"/>
                    <a:pt x="340721" y="1522754"/>
                    <a:pt x="761388" y="1522754"/>
                  </a:cubicBezTo>
                  <a:cubicBezTo>
                    <a:pt x="1182055" y="1522754"/>
                    <a:pt x="1522776" y="1182038"/>
                    <a:pt x="1522776" y="761377"/>
                  </a:cubicBezTo>
                  <a:cubicBezTo>
                    <a:pt x="1522776" y="340716"/>
                    <a:pt x="1182055" y="0"/>
                    <a:pt x="761388" y="0"/>
                  </a:cubicBezTo>
                </a:path>
              </a:pathLst>
            </a:custGeom>
            <a:solidFill>
              <a:srgbClr val="7AF0B2"/>
            </a:solidFill>
            <a:ln w="634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b-NO"/>
            </a:p>
          </p:txBody>
        </p:sp>
        <p:sp>
          <p:nvSpPr>
            <p:cNvPr id="8" name="Freeform: Shape 7">
              <a:extLst>
                <a:ext uri="{FF2B5EF4-FFF2-40B4-BE49-F238E27FC236}">
                  <a16:creationId xmlns:a16="http://schemas.microsoft.com/office/drawing/2014/main" id="{F0B45170-F883-4372-AB40-6375CC91D451}"/>
                </a:ext>
              </a:extLst>
            </p:cNvPr>
            <p:cNvSpPr/>
            <p:nvPr/>
          </p:nvSpPr>
          <p:spPr>
            <a:xfrm>
              <a:off x="10304179" y="1902068"/>
              <a:ext cx="1522776" cy="1522754"/>
            </a:xfrm>
            <a:custGeom>
              <a:avLst/>
              <a:gdLst>
                <a:gd name="connsiteX0" fmla="*/ 761388 w 1522776"/>
                <a:gd name="connsiteY0" fmla="*/ 0 h 1522754"/>
                <a:gd name="connsiteX1" fmla="*/ 761388 w 1522776"/>
                <a:gd name="connsiteY1" fmla="*/ 0 h 1522754"/>
                <a:gd name="connsiteX2" fmla="*/ 0 w 1522776"/>
                <a:gd name="connsiteY2" fmla="*/ 761377 h 1522754"/>
                <a:gd name="connsiteX3" fmla="*/ 761388 w 1522776"/>
                <a:gd name="connsiteY3" fmla="*/ 1522754 h 1522754"/>
                <a:gd name="connsiteX4" fmla="*/ 1522776 w 1522776"/>
                <a:gd name="connsiteY4" fmla="*/ 761377 h 1522754"/>
                <a:gd name="connsiteX5" fmla="*/ 761388 w 1522776"/>
                <a:gd name="connsiteY5" fmla="*/ 0 h 15227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522776" h="1522754">
                  <a:moveTo>
                    <a:pt x="761388" y="0"/>
                  </a:moveTo>
                  <a:lnTo>
                    <a:pt x="761388" y="0"/>
                  </a:lnTo>
                  <a:cubicBezTo>
                    <a:pt x="340721" y="0"/>
                    <a:pt x="0" y="340716"/>
                    <a:pt x="0" y="761377"/>
                  </a:cubicBezTo>
                  <a:cubicBezTo>
                    <a:pt x="0" y="1182038"/>
                    <a:pt x="340721" y="1522754"/>
                    <a:pt x="761388" y="1522754"/>
                  </a:cubicBezTo>
                  <a:cubicBezTo>
                    <a:pt x="1182055" y="1522754"/>
                    <a:pt x="1522776" y="1182038"/>
                    <a:pt x="1522776" y="761377"/>
                  </a:cubicBezTo>
                  <a:cubicBezTo>
                    <a:pt x="1522776" y="340716"/>
                    <a:pt x="1182055" y="0"/>
                    <a:pt x="761388" y="0"/>
                  </a:cubicBezTo>
                </a:path>
              </a:pathLst>
            </a:custGeom>
            <a:solidFill>
              <a:srgbClr val="C4F2D9"/>
            </a:solidFill>
            <a:ln w="634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b-NO"/>
            </a:p>
          </p:txBody>
        </p:sp>
        <p:sp>
          <p:nvSpPr>
            <p:cNvPr id="9" name="Freeform: Shape 8">
              <a:extLst>
                <a:ext uri="{FF2B5EF4-FFF2-40B4-BE49-F238E27FC236}">
                  <a16:creationId xmlns:a16="http://schemas.microsoft.com/office/drawing/2014/main" id="{3C749AFA-51A4-47BD-B37F-96871EBF72AF}"/>
                </a:ext>
              </a:extLst>
            </p:cNvPr>
            <p:cNvSpPr/>
            <p:nvPr/>
          </p:nvSpPr>
          <p:spPr>
            <a:xfrm>
              <a:off x="8781403" y="3424822"/>
              <a:ext cx="1522776" cy="1522754"/>
            </a:xfrm>
            <a:custGeom>
              <a:avLst/>
              <a:gdLst>
                <a:gd name="connsiteX0" fmla="*/ 0 w 1522776"/>
                <a:gd name="connsiteY0" fmla="*/ 0 h 1522754"/>
                <a:gd name="connsiteX1" fmla="*/ 1522776 w 1522776"/>
                <a:gd name="connsiteY1" fmla="*/ 0 h 1522754"/>
                <a:gd name="connsiteX2" fmla="*/ 1522776 w 1522776"/>
                <a:gd name="connsiteY2" fmla="*/ 1522754 h 1522754"/>
                <a:gd name="connsiteX3" fmla="*/ 0 w 1522776"/>
                <a:gd name="connsiteY3" fmla="*/ 1522754 h 15227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22776" h="1522754">
                  <a:moveTo>
                    <a:pt x="0" y="0"/>
                  </a:moveTo>
                  <a:lnTo>
                    <a:pt x="1522776" y="0"/>
                  </a:lnTo>
                  <a:lnTo>
                    <a:pt x="1522776" y="1522754"/>
                  </a:lnTo>
                  <a:lnTo>
                    <a:pt x="0" y="1522754"/>
                  </a:lnTo>
                  <a:close/>
                </a:path>
              </a:pathLst>
            </a:custGeom>
            <a:solidFill>
              <a:srgbClr val="388070"/>
            </a:solidFill>
            <a:ln w="634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b-NO"/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8D970173-6A87-4BFC-87EC-D04AFE918EF8}"/>
                </a:ext>
              </a:extLst>
            </p:cNvPr>
            <p:cNvSpPr/>
            <p:nvPr/>
          </p:nvSpPr>
          <p:spPr>
            <a:xfrm>
              <a:off x="5735851" y="379314"/>
              <a:ext cx="1522776" cy="1522754"/>
            </a:xfrm>
            <a:custGeom>
              <a:avLst/>
              <a:gdLst>
                <a:gd name="connsiteX0" fmla="*/ 0 w 1522776"/>
                <a:gd name="connsiteY0" fmla="*/ 0 h 1522754"/>
                <a:gd name="connsiteX1" fmla="*/ 1522776 w 1522776"/>
                <a:gd name="connsiteY1" fmla="*/ 0 h 1522754"/>
                <a:gd name="connsiteX2" fmla="*/ 1522776 w 1522776"/>
                <a:gd name="connsiteY2" fmla="*/ 1522754 h 1522754"/>
                <a:gd name="connsiteX3" fmla="*/ 0 w 1522776"/>
                <a:gd name="connsiteY3" fmla="*/ 1522754 h 15227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22776" h="1522754">
                  <a:moveTo>
                    <a:pt x="0" y="0"/>
                  </a:moveTo>
                  <a:lnTo>
                    <a:pt x="1522776" y="0"/>
                  </a:lnTo>
                  <a:lnTo>
                    <a:pt x="1522776" y="1522754"/>
                  </a:lnTo>
                  <a:lnTo>
                    <a:pt x="0" y="1522754"/>
                  </a:lnTo>
                  <a:close/>
                </a:path>
              </a:pathLst>
            </a:custGeom>
            <a:solidFill>
              <a:srgbClr val="388070"/>
            </a:solidFill>
            <a:ln w="634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b-NO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DC6ACE94-4986-4C7C-9CD3-7371E2DBDFB5}"/>
                </a:ext>
              </a:extLst>
            </p:cNvPr>
            <p:cNvSpPr/>
            <p:nvPr/>
          </p:nvSpPr>
          <p:spPr>
            <a:xfrm>
              <a:off x="5735851" y="4947576"/>
              <a:ext cx="1522776" cy="1522754"/>
            </a:xfrm>
            <a:custGeom>
              <a:avLst/>
              <a:gdLst>
                <a:gd name="connsiteX0" fmla="*/ 0 w 1522776"/>
                <a:gd name="connsiteY0" fmla="*/ 0 h 1522754"/>
                <a:gd name="connsiteX1" fmla="*/ 1522776 w 1522776"/>
                <a:gd name="connsiteY1" fmla="*/ 0 h 1522754"/>
                <a:gd name="connsiteX2" fmla="*/ 1522776 w 1522776"/>
                <a:gd name="connsiteY2" fmla="*/ 1522754 h 1522754"/>
                <a:gd name="connsiteX3" fmla="*/ 0 w 1522776"/>
                <a:gd name="connsiteY3" fmla="*/ 1522754 h 15227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22776" h="1522754">
                  <a:moveTo>
                    <a:pt x="0" y="0"/>
                  </a:moveTo>
                  <a:lnTo>
                    <a:pt x="1522776" y="0"/>
                  </a:lnTo>
                  <a:lnTo>
                    <a:pt x="1522776" y="1522754"/>
                  </a:lnTo>
                  <a:lnTo>
                    <a:pt x="0" y="1522754"/>
                  </a:lnTo>
                  <a:close/>
                </a:path>
              </a:pathLst>
            </a:custGeom>
            <a:solidFill>
              <a:srgbClr val="7AF0B2"/>
            </a:solidFill>
            <a:ln w="634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b-NO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EA6B3921-A274-4614-B3DD-F91E03194E96}"/>
                </a:ext>
              </a:extLst>
            </p:cNvPr>
            <p:cNvSpPr/>
            <p:nvPr/>
          </p:nvSpPr>
          <p:spPr>
            <a:xfrm>
              <a:off x="10304179" y="3424822"/>
              <a:ext cx="1522776" cy="1522754"/>
            </a:xfrm>
            <a:custGeom>
              <a:avLst/>
              <a:gdLst>
                <a:gd name="connsiteX0" fmla="*/ 761388 w 1522776"/>
                <a:gd name="connsiteY0" fmla="*/ 0 h 1522754"/>
                <a:gd name="connsiteX1" fmla="*/ 761388 w 1522776"/>
                <a:gd name="connsiteY1" fmla="*/ 0 h 1522754"/>
                <a:gd name="connsiteX2" fmla="*/ 0 w 1522776"/>
                <a:gd name="connsiteY2" fmla="*/ 761377 h 1522754"/>
                <a:gd name="connsiteX3" fmla="*/ 761388 w 1522776"/>
                <a:gd name="connsiteY3" fmla="*/ 1522754 h 1522754"/>
                <a:gd name="connsiteX4" fmla="*/ 1522776 w 1522776"/>
                <a:gd name="connsiteY4" fmla="*/ 761377 h 1522754"/>
                <a:gd name="connsiteX5" fmla="*/ 761388 w 1522776"/>
                <a:gd name="connsiteY5" fmla="*/ 0 h 15227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522776" h="1522754">
                  <a:moveTo>
                    <a:pt x="761388" y="0"/>
                  </a:moveTo>
                  <a:lnTo>
                    <a:pt x="761388" y="0"/>
                  </a:lnTo>
                  <a:cubicBezTo>
                    <a:pt x="340721" y="0"/>
                    <a:pt x="0" y="340716"/>
                    <a:pt x="0" y="761377"/>
                  </a:cubicBezTo>
                  <a:cubicBezTo>
                    <a:pt x="0" y="1182038"/>
                    <a:pt x="340721" y="1522754"/>
                    <a:pt x="761388" y="1522754"/>
                  </a:cubicBezTo>
                  <a:cubicBezTo>
                    <a:pt x="1182055" y="1522754"/>
                    <a:pt x="1522776" y="1182038"/>
                    <a:pt x="1522776" y="761377"/>
                  </a:cubicBezTo>
                  <a:cubicBezTo>
                    <a:pt x="1522776" y="340716"/>
                    <a:pt x="1182055" y="0"/>
                    <a:pt x="761388" y="0"/>
                  </a:cubicBezTo>
                </a:path>
              </a:pathLst>
            </a:custGeom>
            <a:solidFill>
              <a:srgbClr val="03A680"/>
            </a:solidFill>
            <a:ln w="634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b-NO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03E9C82B-B1B2-45AF-9286-0EB1E8A58E1A}"/>
                </a:ext>
              </a:extLst>
            </p:cNvPr>
            <p:cNvSpPr/>
            <p:nvPr/>
          </p:nvSpPr>
          <p:spPr>
            <a:xfrm>
              <a:off x="8781403" y="4947576"/>
              <a:ext cx="1522776" cy="1522754"/>
            </a:xfrm>
            <a:custGeom>
              <a:avLst/>
              <a:gdLst>
                <a:gd name="connsiteX0" fmla="*/ 761388 w 1522776"/>
                <a:gd name="connsiteY0" fmla="*/ 0 h 1522754"/>
                <a:gd name="connsiteX1" fmla="*/ 761388 w 1522776"/>
                <a:gd name="connsiteY1" fmla="*/ 0 h 1522754"/>
                <a:gd name="connsiteX2" fmla="*/ 0 w 1522776"/>
                <a:gd name="connsiteY2" fmla="*/ 761377 h 1522754"/>
                <a:gd name="connsiteX3" fmla="*/ 761388 w 1522776"/>
                <a:gd name="connsiteY3" fmla="*/ 1522754 h 1522754"/>
                <a:gd name="connsiteX4" fmla="*/ 1522776 w 1522776"/>
                <a:gd name="connsiteY4" fmla="*/ 761377 h 1522754"/>
                <a:gd name="connsiteX5" fmla="*/ 761388 w 1522776"/>
                <a:gd name="connsiteY5" fmla="*/ 0 h 15227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522776" h="1522754">
                  <a:moveTo>
                    <a:pt x="761388" y="0"/>
                  </a:moveTo>
                  <a:lnTo>
                    <a:pt x="761388" y="0"/>
                  </a:lnTo>
                  <a:cubicBezTo>
                    <a:pt x="340721" y="0"/>
                    <a:pt x="0" y="340716"/>
                    <a:pt x="0" y="761377"/>
                  </a:cubicBezTo>
                  <a:cubicBezTo>
                    <a:pt x="0" y="1182038"/>
                    <a:pt x="340721" y="1522754"/>
                    <a:pt x="761388" y="1522754"/>
                  </a:cubicBezTo>
                  <a:cubicBezTo>
                    <a:pt x="1182055" y="1522754"/>
                    <a:pt x="1522776" y="1182038"/>
                    <a:pt x="1522776" y="761377"/>
                  </a:cubicBezTo>
                  <a:cubicBezTo>
                    <a:pt x="1522776" y="340716"/>
                    <a:pt x="1182055" y="0"/>
                    <a:pt x="761388" y="0"/>
                  </a:cubicBezTo>
                </a:path>
              </a:pathLst>
            </a:custGeom>
            <a:solidFill>
              <a:srgbClr val="03A680"/>
            </a:solidFill>
            <a:ln w="634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b-NO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895DEFAF-AF35-44B4-9336-B085B35EDF6B}"/>
                </a:ext>
              </a:extLst>
            </p:cNvPr>
            <p:cNvSpPr/>
            <p:nvPr/>
          </p:nvSpPr>
          <p:spPr>
            <a:xfrm>
              <a:off x="7258627" y="379314"/>
              <a:ext cx="1522776" cy="3045508"/>
            </a:xfrm>
            <a:custGeom>
              <a:avLst/>
              <a:gdLst>
                <a:gd name="connsiteX0" fmla="*/ 761388 w 1522776"/>
                <a:gd name="connsiteY0" fmla="*/ 0 h 3045508"/>
                <a:gd name="connsiteX1" fmla="*/ 761388 w 1522776"/>
                <a:gd name="connsiteY1" fmla="*/ 0 h 3045508"/>
                <a:gd name="connsiteX2" fmla="*/ 0 w 1522776"/>
                <a:gd name="connsiteY2" fmla="*/ 761377 h 3045508"/>
                <a:gd name="connsiteX3" fmla="*/ 0 w 1522776"/>
                <a:gd name="connsiteY3" fmla="*/ 2284132 h 3045508"/>
                <a:gd name="connsiteX4" fmla="*/ 761388 w 1522776"/>
                <a:gd name="connsiteY4" fmla="*/ 3045509 h 3045508"/>
                <a:gd name="connsiteX5" fmla="*/ 1522776 w 1522776"/>
                <a:gd name="connsiteY5" fmla="*/ 2284132 h 3045508"/>
                <a:gd name="connsiteX6" fmla="*/ 1522776 w 1522776"/>
                <a:gd name="connsiteY6" fmla="*/ 761377 h 3045508"/>
                <a:gd name="connsiteX7" fmla="*/ 761388 w 1522776"/>
                <a:gd name="connsiteY7" fmla="*/ 0 h 30455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522776" h="3045508">
                  <a:moveTo>
                    <a:pt x="761388" y="0"/>
                  </a:moveTo>
                  <a:lnTo>
                    <a:pt x="761388" y="0"/>
                  </a:lnTo>
                  <a:cubicBezTo>
                    <a:pt x="340721" y="0"/>
                    <a:pt x="0" y="340716"/>
                    <a:pt x="0" y="761377"/>
                  </a:cubicBezTo>
                  <a:lnTo>
                    <a:pt x="0" y="2284132"/>
                  </a:lnTo>
                  <a:cubicBezTo>
                    <a:pt x="0" y="2704792"/>
                    <a:pt x="340721" y="3045509"/>
                    <a:pt x="761388" y="3045509"/>
                  </a:cubicBezTo>
                  <a:cubicBezTo>
                    <a:pt x="1182055" y="3045509"/>
                    <a:pt x="1522776" y="2704792"/>
                    <a:pt x="1522776" y="2284132"/>
                  </a:cubicBezTo>
                  <a:lnTo>
                    <a:pt x="1522776" y="761377"/>
                  </a:lnTo>
                  <a:cubicBezTo>
                    <a:pt x="1522776" y="340716"/>
                    <a:pt x="1182055" y="0"/>
                    <a:pt x="761388" y="0"/>
                  </a:cubicBezTo>
                </a:path>
              </a:pathLst>
            </a:custGeom>
            <a:solidFill>
              <a:srgbClr val="7AF0B2"/>
            </a:solidFill>
            <a:ln w="634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b-NO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A2361C7D-FAF8-42BD-AC24-8668CC828068}"/>
                </a:ext>
              </a:extLst>
            </p:cNvPr>
            <p:cNvSpPr/>
            <p:nvPr/>
          </p:nvSpPr>
          <p:spPr>
            <a:xfrm>
              <a:off x="7258627" y="1902068"/>
              <a:ext cx="1522776" cy="3045508"/>
            </a:xfrm>
            <a:custGeom>
              <a:avLst/>
              <a:gdLst>
                <a:gd name="connsiteX0" fmla="*/ 761388 w 1522776"/>
                <a:gd name="connsiteY0" fmla="*/ 0 h 3045508"/>
                <a:gd name="connsiteX1" fmla="*/ 761388 w 1522776"/>
                <a:gd name="connsiteY1" fmla="*/ 0 h 3045508"/>
                <a:gd name="connsiteX2" fmla="*/ 0 w 1522776"/>
                <a:gd name="connsiteY2" fmla="*/ 761377 h 3045508"/>
                <a:gd name="connsiteX3" fmla="*/ 0 w 1522776"/>
                <a:gd name="connsiteY3" fmla="*/ 2284132 h 3045508"/>
                <a:gd name="connsiteX4" fmla="*/ 761388 w 1522776"/>
                <a:gd name="connsiteY4" fmla="*/ 3045509 h 3045508"/>
                <a:gd name="connsiteX5" fmla="*/ 1522776 w 1522776"/>
                <a:gd name="connsiteY5" fmla="*/ 2284132 h 3045508"/>
                <a:gd name="connsiteX6" fmla="*/ 1522776 w 1522776"/>
                <a:gd name="connsiteY6" fmla="*/ 761377 h 3045508"/>
                <a:gd name="connsiteX7" fmla="*/ 761388 w 1522776"/>
                <a:gd name="connsiteY7" fmla="*/ 0 h 30455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522776" h="3045508">
                  <a:moveTo>
                    <a:pt x="761388" y="0"/>
                  </a:moveTo>
                  <a:lnTo>
                    <a:pt x="761388" y="0"/>
                  </a:lnTo>
                  <a:cubicBezTo>
                    <a:pt x="340721" y="0"/>
                    <a:pt x="0" y="340716"/>
                    <a:pt x="0" y="761377"/>
                  </a:cubicBezTo>
                  <a:lnTo>
                    <a:pt x="0" y="2284132"/>
                  </a:lnTo>
                  <a:cubicBezTo>
                    <a:pt x="0" y="2704792"/>
                    <a:pt x="340721" y="3045509"/>
                    <a:pt x="761388" y="3045509"/>
                  </a:cubicBezTo>
                  <a:cubicBezTo>
                    <a:pt x="1182055" y="3045509"/>
                    <a:pt x="1522776" y="2704792"/>
                    <a:pt x="1522776" y="2284132"/>
                  </a:cubicBezTo>
                  <a:lnTo>
                    <a:pt x="1522776" y="761377"/>
                  </a:lnTo>
                  <a:cubicBezTo>
                    <a:pt x="1522776" y="340716"/>
                    <a:pt x="1182055" y="0"/>
                    <a:pt x="761388" y="0"/>
                  </a:cubicBezTo>
                </a:path>
              </a:pathLst>
            </a:custGeom>
            <a:solidFill>
              <a:srgbClr val="03A680"/>
            </a:solidFill>
            <a:ln w="634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b-NO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0B3EAD2E-E6B2-4BAA-9CCC-C64277DD5FAA}"/>
                </a:ext>
              </a:extLst>
            </p:cNvPr>
            <p:cNvSpPr/>
            <p:nvPr/>
          </p:nvSpPr>
          <p:spPr>
            <a:xfrm>
              <a:off x="7258627" y="1902068"/>
              <a:ext cx="1522776" cy="1522754"/>
            </a:xfrm>
            <a:custGeom>
              <a:avLst/>
              <a:gdLst>
                <a:gd name="connsiteX0" fmla="*/ 761388 w 1522776"/>
                <a:gd name="connsiteY0" fmla="*/ 0 h 1522754"/>
                <a:gd name="connsiteX1" fmla="*/ 761388 w 1522776"/>
                <a:gd name="connsiteY1" fmla="*/ 0 h 1522754"/>
                <a:gd name="connsiteX2" fmla="*/ 0 w 1522776"/>
                <a:gd name="connsiteY2" fmla="*/ 761377 h 1522754"/>
                <a:gd name="connsiteX3" fmla="*/ 761388 w 1522776"/>
                <a:gd name="connsiteY3" fmla="*/ 1522754 h 1522754"/>
                <a:gd name="connsiteX4" fmla="*/ 1522776 w 1522776"/>
                <a:gd name="connsiteY4" fmla="*/ 761377 h 1522754"/>
                <a:gd name="connsiteX5" fmla="*/ 761388 w 1522776"/>
                <a:gd name="connsiteY5" fmla="*/ 0 h 15227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522776" h="1522754">
                  <a:moveTo>
                    <a:pt x="761388" y="0"/>
                  </a:moveTo>
                  <a:lnTo>
                    <a:pt x="761388" y="0"/>
                  </a:lnTo>
                  <a:cubicBezTo>
                    <a:pt x="340721" y="0"/>
                    <a:pt x="0" y="340716"/>
                    <a:pt x="0" y="761377"/>
                  </a:cubicBezTo>
                  <a:cubicBezTo>
                    <a:pt x="0" y="1182038"/>
                    <a:pt x="340721" y="1522754"/>
                    <a:pt x="761388" y="1522754"/>
                  </a:cubicBezTo>
                  <a:cubicBezTo>
                    <a:pt x="1182055" y="1522754"/>
                    <a:pt x="1522776" y="1182038"/>
                    <a:pt x="1522776" y="761377"/>
                  </a:cubicBezTo>
                  <a:cubicBezTo>
                    <a:pt x="1522776" y="340716"/>
                    <a:pt x="1182055" y="0"/>
                    <a:pt x="761388" y="0"/>
                  </a:cubicBezTo>
                </a:path>
              </a:pathLst>
            </a:custGeom>
            <a:solidFill>
              <a:srgbClr val="C4F2D9"/>
            </a:solidFill>
            <a:ln w="634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b-NO"/>
            </a:p>
          </p:txBody>
        </p:sp>
      </p:grpSp>
    </p:spTree>
    <p:extLst>
      <p:ext uri="{BB962C8B-B14F-4D97-AF65-F5344CB8AC3E}">
        <p14:creationId xmlns:p14="http://schemas.microsoft.com/office/powerpoint/2010/main" val="35501950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lsides 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53BFC534-7982-4E33-A724-8826C497D45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solidFill>
            <a:srgbClr val="BCBEC0"/>
          </a:solidFill>
        </p:spPr>
        <p:txBody>
          <a:bodyPr/>
          <a:lstStyle/>
          <a:p>
            <a:r>
              <a:rPr lang="nb-NO"/>
              <a:t>Klikk på ikonet for å legge til et bilde</a:t>
            </a:r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0BEBC3A0-D734-4604-9FC7-250CB84DEC2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069137" y="3724275"/>
            <a:ext cx="8932862" cy="1620000"/>
          </a:xfrm>
          <a:prstGeom prst="roundRect">
            <a:avLst>
              <a:gd name="adj" fmla="val 50000"/>
            </a:avLst>
          </a:prstGeom>
          <a:solidFill>
            <a:srgbClr val="015945"/>
          </a:solidFill>
        </p:spPr>
        <p:txBody>
          <a:bodyPr lIns="468000" rIns="972000" anchor="ctr" anchorCtr="0"/>
          <a:lstStyle>
            <a:lvl1pPr marL="0" indent="0">
              <a:lnSpc>
                <a:spcPct val="100000"/>
              </a:lnSpc>
              <a:buNone/>
              <a:defRPr sz="3600"/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7" name="Text Placeholder 11">
            <a:extLst>
              <a:ext uri="{FF2B5EF4-FFF2-40B4-BE49-F238E27FC236}">
                <a16:creationId xmlns:a16="http://schemas.microsoft.com/office/drawing/2014/main" id="{4E65C3B4-2DEA-4AD9-8319-4ED2A0E077D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449138" y="3724274"/>
            <a:ext cx="1619999" cy="1619999"/>
          </a:xfrm>
          <a:prstGeom prst="ellipse">
            <a:avLst/>
          </a:prstGeom>
          <a:solidFill>
            <a:srgbClr val="7BEFB2"/>
          </a:solidFill>
        </p:spPr>
        <p:txBody>
          <a:bodyPr wrap="square" bIns="72000" anchor="ctr" anchorCtr="0"/>
          <a:lstStyle>
            <a:lvl1pPr marL="0" indent="0" algn="ctr">
              <a:buNone/>
              <a:defRPr sz="6000">
                <a:solidFill>
                  <a:schemeClr val="bg2"/>
                </a:solidFill>
              </a:defRPr>
            </a:lvl1pPr>
          </a:lstStyle>
          <a:p>
            <a:pPr lvl="0"/>
            <a:r>
              <a:rPr lang="nb-NO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932051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lsides bilde (alternativ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53BFC534-7982-4E33-A724-8826C497D45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solidFill>
            <a:srgbClr val="BCBEC0"/>
          </a:solidFill>
        </p:spPr>
        <p:txBody>
          <a:bodyPr/>
          <a:lstStyle/>
          <a:p>
            <a:r>
              <a:rPr lang="nb-NO"/>
              <a:t>Klikk på ikonet for å legge til et bild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EA317BF8-CEC2-4649-94F5-12F566C39DF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-1000123" y="3724275"/>
            <a:ext cx="8932862" cy="1620000"/>
          </a:xfrm>
          <a:prstGeom prst="roundRect">
            <a:avLst>
              <a:gd name="adj" fmla="val 50000"/>
            </a:avLst>
          </a:prstGeom>
          <a:solidFill>
            <a:srgbClr val="015945"/>
          </a:solidFill>
        </p:spPr>
        <p:txBody>
          <a:bodyPr lIns="1116000" rIns="468000" anchor="ctr" anchorCtr="0"/>
          <a:lstStyle>
            <a:lvl1pPr marL="0" indent="0">
              <a:lnSpc>
                <a:spcPct val="100000"/>
              </a:lnSpc>
              <a:buNone/>
              <a:defRPr sz="3600"/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F56D31FE-CDD5-4D8E-B9B7-5F97AFAC3FC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932739" y="3724274"/>
            <a:ext cx="1619999" cy="1619999"/>
          </a:xfrm>
          <a:prstGeom prst="ellipse">
            <a:avLst/>
          </a:prstGeom>
          <a:solidFill>
            <a:srgbClr val="7BEFB2"/>
          </a:solidFill>
        </p:spPr>
        <p:txBody>
          <a:bodyPr wrap="square" bIns="72000" anchor="ctr" anchorCtr="0"/>
          <a:lstStyle>
            <a:lvl1pPr marL="0" indent="0" algn="ctr">
              <a:buNone/>
              <a:defRPr sz="6000">
                <a:solidFill>
                  <a:schemeClr val="bg2"/>
                </a:solidFill>
              </a:defRPr>
            </a:lvl1pPr>
          </a:lstStyle>
          <a:p>
            <a:pPr lvl="0"/>
            <a:r>
              <a:rPr lang="nb-NO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42586233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vslut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aphic 5">
            <a:extLst>
              <a:ext uri="{FF2B5EF4-FFF2-40B4-BE49-F238E27FC236}">
                <a16:creationId xmlns:a16="http://schemas.microsoft.com/office/drawing/2014/main" id="{313E9F5C-37A4-4686-8EA0-323A664996F8}"/>
              </a:ext>
            </a:extLst>
          </p:cNvPr>
          <p:cNvGrpSpPr/>
          <p:nvPr userDrawn="1"/>
        </p:nvGrpSpPr>
        <p:grpSpPr>
          <a:xfrm>
            <a:off x="4829175" y="3319876"/>
            <a:ext cx="2533650" cy="218248"/>
            <a:chOff x="375603" y="6363759"/>
            <a:chExt cx="1683184" cy="144991"/>
          </a:xfrm>
        </p:grpSpPr>
        <p:sp>
          <p:nvSpPr>
            <p:cNvPr id="3" name="Freeform: Shape 2">
              <a:extLst>
                <a:ext uri="{FF2B5EF4-FFF2-40B4-BE49-F238E27FC236}">
                  <a16:creationId xmlns:a16="http://schemas.microsoft.com/office/drawing/2014/main" id="{017105C3-6FFE-4835-8472-B5D511824965}"/>
                </a:ext>
              </a:extLst>
            </p:cNvPr>
            <p:cNvSpPr/>
            <p:nvPr/>
          </p:nvSpPr>
          <p:spPr>
            <a:xfrm>
              <a:off x="375445" y="6363601"/>
              <a:ext cx="248852" cy="145936"/>
            </a:xfrm>
            <a:custGeom>
              <a:avLst/>
              <a:gdLst>
                <a:gd name="connsiteX0" fmla="*/ 238451 w 248852"/>
                <a:gd name="connsiteY0" fmla="*/ 10874 h 145936"/>
                <a:gd name="connsiteX1" fmla="*/ 186758 w 248852"/>
                <a:gd name="connsiteY1" fmla="*/ 10874 h 145936"/>
                <a:gd name="connsiteX2" fmla="*/ 135695 w 248852"/>
                <a:gd name="connsiteY2" fmla="*/ 61936 h 145936"/>
                <a:gd name="connsiteX3" fmla="*/ 135064 w 248852"/>
                <a:gd name="connsiteY3" fmla="*/ 10874 h 145936"/>
                <a:gd name="connsiteX4" fmla="*/ 83371 w 248852"/>
                <a:gd name="connsiteY4" fmla="*/ 10874 h 145936"/>
                <a:gd name="connsiteX5" fmla="*/ 10875 w 248852"/>
                <a:gd name="connsiteY5" fmla="*/ 83370 h 145936"/>
                <a:gd name="connsiteX6" fmla="*/ 10875 w 248852"/>
                <a:gd name="connsiteY6" fmla="*/ 135062 h 145936"/>
                <a:gd name="connsiteX7" fmla="*/ 62568 w 248852"/>
                <a:gd name="connsiteY7" fmla="*/ 135062 h 145936"/>
                <a:gd name="connsiteX8" fmla="*/ 113631 w 248852"/>
                <a:gd name="connsiteY8" fmla="*/ 84000 h 145936"/>
                <a:gd name="connsiteX9" fmla="*/ 114261 w 248852"/>
                <a:gd name="connsiteY9" fmla="*/ 135062 h 145936"/>
                <a:gd name="connsiteX10" fmla="*/ 165954 w 248852"/>
                <a:gd name="connsiteY10" fmla="*/ 135062 h 145936"/>
                <a:gd name="connsiteX11" fmla="*/ 238451 w 248852"/>
                <a:gd name="connsiteY11" fmla="*/ 62567 h 145936"/>
                <a:gd name="connsiteX12" fmla="*/ 238451 w 248852"/>
                <a:gd name="connsiteY12" fmla="*/ 10874 h 1459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48852" h="145936">
                  <a:moveTo>
                    <a:pt x="238451" y="10874"/>
                  </a:moveTo>
                  <a:cubicBezTo>
                    <a:pt x="223952" y="-3625"/>
                    <a:pt x="201257" y="-3625"/>
                    <a:pt x="186758" y="10874"/>
                  </a:cubicBezTo>
                  <a:lnTo>
                    <a:pt x="135695" y="61936"/>
                  </a:lnTo>
                  <a:cubicBezTo>
                    <a:pt x="149564" y="47437"/>
                    <a:pt x="149564" y="24743"/>
                    <a:pt x="135064" y="10874"/>
                  </a:cubicBezTo>
                  <a:cubicBezTo>
                    <a:pt x="120565" y="-3625"/>
                    <a:pt x="97871" y="-3625"/>
                    <a:pt x="83371" y="10874"/>
                  </a:cubicBezTo>
                  <a:lnTo>
                    <a:pt x="10875" y="83370"/>
                  </a:lnTo>
                  <a:cubicBezTo>
                    <a:pt x="-3625" y="97869"/>
                    <a:pt x="-3625" y="120563"/>
                    <a:pt x="10875" y="135062"/>
                  </a:cubicBezTo>
                  <a:cubicBezTo>
                    <a:pt x="25374" y="149561"/>
                    <a:pt x="48068" y="149561"/>
                    <a:pt x="62568" y="135062"/>
                  </a:cubicBezTo>
                  <a:lnTo>
                    <a:pt x="113631" y="84000"/>
                  </a:lnTo>
                  <a:cubicBezTo>
                    <a:pt x="99762" y="98499"/>
                    <a:pt x="99762" y="121194"/>
                    <a:pt x="114261" y="135062"/>
                  </a:cubicBezTo>
                  <a:cubicBezTo>
                    <a:pt x="128760" y="149561"/>
                    <a:pt x="151455" y="149561"/>
                    <a:pt x="165954" y="135062"/>
                  </a:cubicBezTo>
                  <a:lnTo>
                    <a:pt x="238451" y="62567"/>
                  </a:lnTo>
                  <a:cubicBezTo>
                    <a:pt x="252320" y="48068"/>
                    <a:pt x="252320" y="24743"/>
                    <a:pt x="238451" y="10874"/>
                  </a:cubicBezTo>
                </a:path>
              </a:pathLst>
            </a:custGeom>
            <a:solidFill>
              <a:srgbClr val="FFFFFF"/>
            </a:solidFill>
            <a:ln w="627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b-NO"/>
            </a:p>
          </p:txBody>
        </p:sp>
        <p:sp>
          <p:nvSpPr>
            <p:cNvPr id="4" name="Freeform: Shape 3">
              <a:extLst>
                <a:ext uri="{FF2B5EF4-FFF2-40B4-BE49-F238E27FC236}">
                  <a16:creationId xmlns:a16="http://schemas.microsoft.com/office/drawing/2014/main" id="{091AD4F1-DCDF-4BAF-B1A5-9C94FEF610B3}"/>
                </a:ext>
              </a:extLst>
            </p:cNvPr>
            <p:cNvSpPr/>
            <p:nvPr/>
          </p:nvSpPr>
          <p:spPr>
            <a:xfrm>
              <a:off x="727369" y="6366910"/>
              <a:ext cx="113473" cy="139317"/>
            </a:xfrm>
            <a:custGeom>
              <a:avLst/>
              <a:gdLst>
                <a:gd name="connsiteX0" fmla="*/ 93300 w 113473"/>
                <a:gd name="connsiteY0" fmla="*/ 42237 h 139317"/>
                <a:gd name="connsiteX1" fmla="*/ 93300 w 113473"/>
                <a:gd name="connsiteY1" fmla="*/ 0 h 139317"/>
                <a:gd name="connsiteX2" fmla="*/ 113473 w 113473"/>
                <a:gd name="connsiteY2" fmla="*/ 0 h 139317"/>
                <a:gd name="connsiteX3" fmla="*/ 113473 w 113473"/>
                <a:gd name="connsiteY3" fmla="*/ 139317 h 139317"/>
                <a:gd name="connsiteX4" fmla="*/ 89518 w 113473"/>
                <a:gd name="connsiteY4" fmla="*/ 139317 h 139317"/>
                <a:gd name="connsiteX5" fmla="*/ 46650 w 113473"/>
                <a:gd name="connsiteY5" fmla="*/ 71865 h 139317"/>
                <a:gd name="connsiteX6" fmla="*/ 19543 w 113473"/>
                <a:gd name="connsiteY6" fmla="*/ 27107 h 139317"/>
                <a:gd name="connsiteX7" fmla="*/ 20173 w 113473"/>
                <a:gd name="connsiteY7" fmla="*/ 97081 h 139317"/>
                <a:gd name="connsiteX8" fmla="*/ 20173 w 113473"/>
                <a:gd name="connsiteY8" fmla="*/ 139317 h 139317"/>
                <a:gd name="connsiteX9" fmla="*/ 0 w 113473"/>
                <a:gd name="connsiteY9" fmla="*/ 139317 h 139317"/>
                <a:gd name="connsiteX10" fmla="*/ 0 w 113473"/>
                <a:gd name="connsiteY10" fmla="*/ 0 h 139317"/>
                <a:gd name="connsiteX11" fmla="*/ 23955 w 113473"/>
                <a:gd name="connsiteY11" fmla="*/ 0 h 139317"/>
                <a:gd name="connsiteX12" fmla="*/ 66823 w 113473"/>
                <a:gd name="connsiteY12" fmla="*/ 67452 h 139317"/>
                <a:gd name="connsiteX13" fmla="*/ 93930 w 113473"/>
                <a:gd name="connsiteY13" fmla="*/ 112210 h 139317"/>
                <a:gd name="connsiteX14" fmla="*/ 93300 w 113473"/>
                <a:gd name="connsiteY14" fmla="*/ 42237 h 1393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13473" h="139317">
                  <a:moveTo>
                    <a:pt x="93300" y="42237"/>
                  </a:moveTo>
                  <a:lnTo>
                    <a:pt x="93300" y="0"/>
                  </a:lnTo>
                  <a:lnTo>
                    <a:pt x="113473" y="0"/>
                  </a:lnTo>
                  <a:lnTo>
                    <a:pt x="113473" y="139317"/>
                  </a:lnTo>
                  <a:lnTo>
                    <a:pt x="89518" y="139317"/>
                  </a:lnTo>
                  <a:lnTo>
                    <a:pt x="46650" y="71865"/>
                  </a:lnTo>
                  <a:cubicBezTo>
                    <a:pt x="34042" y="52323"/>
                    <a:pt x="25216" y="37193"/>
                    <a:pt x="19543" y="27107"/>
                  </a:cubicBezTo>
                  <a:cubicBezTo>
                    <a:pt x="20173" y="42867"/>
                    <a:pt x="20173" y="66192"/>
                    <a:pt x="20173" y="97081"/>
                  </a:cubicBezTo>
                  <a:lnTo>
                    <a:pt x="20173" y="139317"/>
                  </a:lnTo>
                  <a:lnTo>
                    <a:pt x="0" y="139317"/>
                  </a:lnTo>
                  <a:lnTo>
                    <a:pt x="0" y="0"/>
                  </a:lnTo>
                  <a:lnTo>
                    <a:pt x="23955" y="0"/>
                  </a:lnTo>
                  <a:lnTo>
                    <a:pt x="66823" y="67452"/>
                  </a:lnTo>
                  <a:cubicBezTo>
                    <a:pt x="78170" y="85734"/>
                    <a:pt x="87626" y="100863"/>
                    <a:pt x="93930" y="112210"/>
                  </a:cubicBezTo>
                  <a:cubicBezTo>
                    <a:pt x="93300" y="97081"/>
                    <a:pt x="93300" y="73756"/>
                    <a:pt x="93300" y="42237"/>
                  </a:cubicBezTo>
                </a:path>
              </a:pathLst>
            </a:custGeom>
            <a:solidFill>
              <a:srgbClr val="FFFFFF"/>
            </a:solidFill>
            <a:ln w="627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b-NO"/>
            </a:p>
          </p:txBody>
        </p:sp>
        <p:sp>
          <p:nvSpPr>
            <p:cNvPr id="5" name="Freeform: Shape 4">
              <a:extLst>
                <a:ext uri="{FF2B5EF4-FFF2-40B4-BE49-F238E27FC236}">
                  <a16:creationId xmlns:a16="http://schemas.microsoft.com/office/drawing/2014/main" id="{E952AC34-D787-4ABF-AF0F-FE9288CB7382}"/>
                </a:ext>
              </a:extLst>
            </p:cNvPr>
            <p:cNvSpPr/>
            <p:nvPr/>
          </p:nvSpPr>
          <p:spPr>
            <a:xfrm>
              <a:off x="859124" y="6402843"/>
              <a:ext cx="99604" cy="105906"/>
            </a:xfrm>
            <a:custGeom>
              <a:avLst/>
              <a:gdLst>
                <a:gd name="connsiteX0" fmla="*/ 28368 w 99604"/>
                <a:gd name="connsiteY0" fmla="*/ 79430 h 105906"/>
                <a:gd name="connsiteX1" fmla="*/ 49802 w 99604"/>
                <a:gd name="connsiteY1" fmla="*/ 88886 h 105906"/>
                <a:gd name="connsiteX2" fmla="*/ 71236 w 99604"/>
                <a:gd name="connsiteY2" fmla="*/ 79430 h 105906"/>
                <a:gd name="connsiteX3" fmla="*/ 79431 w 99604"/>
                <a:gd name="connsiteY3" fmla="*/ 52953 h 105906"/>
                <a:gd name="connsiteX4" fmla="*/ 71236 w 99604"/>
                <a:gd name="connsiteY4" fmla="*/ 26477 h 105906"/>
                <a:gd name="connsiteX5" fmla="*/ 49802 w 99604"/>
                <a:gd name="connsiteY5" fmla="*/ 17021 h 105906"/>
                <a:gd name="connsiteX6" fmla="*/ 28368 w 99604"/>
                <a:gd name="connsiteY6" fmla="*/ 26477 h 105906"/>
                <a:gd name="connsiteX7" fmla="*/ 20173 w 99604"/>
                <a:gd name="connsiteY7" fmla="*/ 52953 h 105906"/>
                <a:gd name="connsiteX8" fmla="*/ 28368 w 99604"/>
                <a:gd name="connsiteY8" fmla="*/ 79430 h 105906"/>
                <a:gd name="connsiteX9" fmla="*/ 86366 w 99604"/>
                <a:gd name="connsiteY9" fmla="*/ 91407 h 105906"/>
                <a:gd name="connsiteX10" fmla="*/ 49802 w 99604"/>
                <a:gd name="connsiteY10" fmla="*/ 105906 h 105906"/>
                <a:gd name="connsiteX11" fmla="*/ 13869 w 99604"/>
                <a:gd name="connsiteY11" fmla="*/ 91407 h 105906"/>
                <a:gd name="connsiteX12" fmla="*/ 0 w 99604"/>
                <a:gd name="connsiteY12" fmla="*/ 52953 h 105906"/>
                <a:gd name="connsiteX13" fmla="*/ 13869 w 99604"/>
                <a:gd name="connsiteY13" fmla="*/ 14499 h 105906"/>
                <a:gd name="connsiteX14" fmla="*/ 49802 w 99604"/>
                <a:gd name="connsiteY14" fmla="*/ 0 h 105906"/>
                <a:gd name="connsiteX15" fmla="*/ 85735 w 99604"/>
                <a:gd name="connsiteY15" fmla="*/ 14499 h 105906"/>
                <a:gd name="connsiteX16" fmla="*/ 99604 w 99604"/>
                <a:gd name="connsiteY16" fmla="*/ 52953 h 105906"/>
                <a:gd name="connsiteX17" fmla="*/ 86366 w 99604"/>
                <a:gd name="connsiteY17" fmla="*/ 91407 h 1059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99604" h="105906">
                  <a:moveTo>
                    <a:pt x="28368" y="79430"/>
                  </a:moveTo>
                  <a:cubicBezTo>
                    <a:pt x="33412" y="85734"/>
                    <a:pt x="40976" y="88886"/>
                    <a:pt x="49802" y="88886"/>
                  </a:cubicBezTo>
                  <a:cubicBezTo>
                    <a:pt x="58628" y="88886"/>
                    <a:pt x="66193" y="85734"/>
                    <a:pt x="71236" y="79430"/>
                  </a:cubicBezTo>
                  <a:cubicBezTo>
                    <a:pt x="76279" y="73126"/>
                    <a:pt x="79431" y="64300"/>
                    <a:pt x="79431" y="52953"/>
                  </a:cubicBezTo>
                  <a:cubicBezTo>
                    <a:pt x="79431" y="41606"/>
                    <a:pt x="76910" y="32781"/>
                    <a:pt x="71236" y="26477"/>
                  </a:cubicBezTo>
                  <a:cubicBezTo>
                    <a:pt x="66193" y="20173"/>
                    <a:pt x="58628" y="17021"/>
                    <a:pt x="49802" y="17021"/>
                  </a:cubicBezTo>
                  <a:cubicBezTo>
                    <a:pt x="40976" y="17021"/>
                    <a:pt x="33412" y="20173"/>
                    <a:pt x="28368" y="26477"/>
                  </a:cubicBezTo>
                  <a:cubicBezTo>
                    <a:pt x="23325" y="32781"/>
                    <a:pt x="20173" y="41606"/>
                    <a:pt x="20173" y="52953"/>
                  </a:cubicBezTo>
                  <a:cubicBezTo>
                    <a:pt x="20173" y="64300"/>
                    <a:pt x="22695" y="73126"/>
                    <a:pt x="28368" y="79430"/>
                  </a:cubicBezTo>
                  <a:moveTo>
                    <a:pt x="86366" y="91407"/>
                  </a:moveTo>
                  <a:cubicBezTo>
                    <a:pt x="76910" y="100863"/>
                    <a:pt x="64932" y="105906"/>
                    <a:pt x="49802" y="105906"/>
                  </a:cubicBezTo>
                  <a:cubicBezTo>
                    <a:pt x="34672" y="105906"/>
                    <a:pt x="22695" y="100863"/>
                    <a:pt x="13869" y="91407"/>
                  </a:cubicBezTo>
                  <a:cubicBezTo>
                    <a:pt x="4413" y="81951"/>
                    <a:pt x="0" y="68713"/>
                    <a:pt x="0" y="52953"/>
                  </a:cubicBezTo>
                  <a:cubicBezTo>
                    <a:pt x="0" y="37193"/>
                    <a:pt x="4413" y="23955"/>
                    <a:pt x="13869" y="14499"/>
                  </a:cubicBezTo>
                  <a:cubicBezTo>
                    <a:pt x="22695" y="5043"/>
                    <a:pt x="35303" y="0"/>
                    <a:pt x="49802" y="0"/>
                  </a:cubicBezTo>
                  <a:cubicBezTo>
                    <a:pt x="64932" y="0"/>
                    <a:pt x="76910" y="5043"/>
                    <a:pt x="85735" y="14499"/>
                  </a:cubicBezTo>
                  <a:cubicBezTo>
                    <a:pt x="94561" y="23955"/>
                    <a:pt x="99604" y="37193"/>
                    <a:pt x="99604" y="52953"/>
                  </a:cubicBezTo>
                  <a:cubicBezTo>
                    <a:pt x="99604" y="68713"/>
                    <a:pt x="95191" y="81951"/>
                    <a:pt x="86366" y="91407"/>
                  </a:cubicBezTo>
                </a:path>
              </a:pathLst>
            </a:custGeom>
            <a:solidFill>
              <a:srgbClr val="FFFFFF"/>
            </a:solidFill>
            <a:ln w="627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b-NO"/>
            </a:p>
          </p:txBody>
        </p:sp>
        <p:sp>
          <p:nvSpPr>
            <p:cNvPr id="6" name="Freeform: Shape 5">
              <a:extLst>
                <a:ext uri="{FF2B5EF4-FFF2-40B4-BE49-F238E27FC236}">
                  <a16:creationId xmlns:a16="http://schemas.microsoft.com/office/drawing/2014/main" id="{B7B7FF88-4342-4009-AE08-78DA945B4AA2}"/>
                </a:ext>
              </a:extLst>
            </p:cNvPr>
            <p:cNvSpPr/>
            <p:nvPr/>
          </p:nvSpPr>
          <p:spPr>
            <a:xfrm>
              <a:off x="976379" y="6403473"/>
              <a:ext cx="56106" cy="102754"/>
            </a:xfrm>
            <a:custGeom>
              <a:avLst/>
              <a:gdLst>
                <a:gd name="connsiteX0" fmla="*/ 50432 w 56106"/>
                <a:gd name="connsiteY0" fmla="*/ 0 h 102754"/>
                <a:gd name="connsiteX1" fmla="*/ 56106 w 56106"/>
                <a:gd name="connsiteY1" fmla="*/ 0 h 102754"/>
                <a:gd name="connsiteX2" fmla="*/ 56106 w 56106"/>
                <a:gd name="connsiteY2" fmla="*/ 18912 h 102754"/>
                <a:gd name="connsiteX3" fmla="*/ 51063 w 56106"/>
                <a:gd name="connsiteY3" fmla="*/ 18912 h 102754"/>
                <a:gd name="connsiteX4" fmla="*/ 27738 w 56106"/>
                <a:gd name="connsiteY4" fmla="*/ 26477 h 102754"/>
                <a:gd name="connsiteX5" fmla="*/ 19543 w 56106"/>
                <a:gd name="connsiteY5" fmla="*/ 47910 h 102754"/>
                <a:gd name="connsiteX6" fmla="*/ 19543 w 56106"/>
                <a:gd name="connsiteY6" fmla="*/ 102754 h 102754"/>
                <a:gd name="connsiteX7" fmla="*/ 0 w 56106"/>
                <a:gd name="connsiteY7" fmla="*/ 102754 h 102754"/>
                <a:gd name="connsiteX8" fmla="*/ 0 w 56106"/>
                <a:gd name="connsiteY8" fmla="*/ 1891 h 102754"/>
                <a:gd name="connsiteX9" fmla="*/ 18912 w 56106"/>
                <a:gd name="connsiteY9" fmla="*/ 1891 h 102754"/>
                <a:gd name="connsiteX10" fmla="*/ 18912 w 56106"/>
                <a:gd name="connsiteY10" fmla="*/ 20173 h 102754"/>
                <a:gd name="connsiteX11" fmla="*/ 50432 w 56106"/>
                <a:gd name="connsiteY11" fmla="*/ 0 h 1027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6106" h="102754">
                  <a:moveTo>
                    <a:pt x="50432" y="0"/>
                  </a:moveTo>
                  <a:cubicBezTo>
                    <a:pt x="53585" y="0"/>
                    <a:pt x="55476" y="0"/>
                    <a:pt x="56106" y="0"/>
                  </a:cubicBezTo>
                  <a:lnTo>
                    <a:pt x="56106" y="18912"/>
                  </a:lnTo>
                  <a:lnTo>
                    <a:pt x="51063" y="18912"/>
                  </a:lnTo>
                  <a:cubicBezTo>
                    <a:pt x="40976" y="18912"/>
                    <a:pt x="33411" y="21433"/>
                    <a:pt x="27738" y="26477"/>
                  </a:cubicBezTo>
                  <a:cubicBezTo>
                    <a:pt x="22064" y="31520"/>
                    <a:pt x="19543" y="38454"/>
                    <a:pt x="19543" y="47910"/>
                  </a:cubicBezTo>
                  <a:lnTo>
                    <a:pt x="19543" y="102754"/>
                  </a:lnTo>
                  <a:lnTo>
                    <a:pt x="0" y="102754"/>
                  </a:lnTo>
                  <a:lnTo>
                    <a:pt x="0" y="1891"/>
                  </a:lnTo>
                  <a:lnTo>
                    <a:pt x="18912" y="1891"/>
                  </a:lnTo>
                  <a:lnTo>
                    <a:pt x="18912" y="20173"/>
                  </a:lnTo>
                  <a:cubicBezTo>
                    <a:pt x="25216" y="6934"/>
                    <a:pt x="35303" y="0"/>
                    <a:pt x="50432" y="0"/>
                  </a:cubicBezTo>
                </a:path>
              </a:pathLst>
            </a:custGeom>
            <a:solidFill>
              <a:srgbClr val="FFFFFF"/>
            </a:solidFill>
            <a:ln w="627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b-NO"/>
            </a:p>
          </p:txBody>
        </p:sp>
        <p:sp>
          <p:nvSpPr>
            <p:cNvPr id="7" name="Freeform: Shape 6">
              <a:extLst>
                <a:ext uri="{FF2B5EF4-FFF2-40B4-BE49-F238E27FC236}">
                  <a16:creationId xmlns:a16="http://schemas.microsoft.com/office/drawing/2014/main" id="{A4AE69E1-4907-49B2-9D78-35CD85FEB994}"/>
                </a:ext>
              </a:extLst>
            </p:cNvPr>
            <p:cNvSpPr/>
            <p:nvPr/>
          </p:nvSpPr>
          <p:spPr>
            <a:xfrm>
              <a:off x="1036268" y="6402843"/>
              <a:ext cx="86995" cy="105906"/>
            </a:xfrm>
            <a:custGeom>
              <a:avLst/>
              <a:gdLst>
                <a:gd name="connsiteX0" fmla="*/ 44128 w 86995"/>
                <a:gd name="connsiteY0" fmla="*/ 105906 h 105906"/>
                <a:gd name="connsiteX1" fmla="*/ 0 w 86995"/>
                <a:gd name="connsiteY1" fmla="*/ 71235 h 105906"/>
                <a:gd name="connsiteX2" fmla="*/ 19543 w 86995"/>
                <a:gd name="connsiteY2" fmla="*/ 71235 h 105906"/>
                <a:gd name="connsiteX3" fmla="*/ 26477 w 86995"/>
                <a:gd name="connsiteY3" fmla="*/ 86364 h 105906"/>
                <a:gd name="connsiteX4" fmla="*/ 44759 w 86995"/>
                <a:gd name="connsiteY4" fmla="*/ 90777 h 105906"/>
                <a:gd name="connsiteX5" fmla="*/ 66823 w 86995"/>
                <a:gd name="connsiteY5" fmla="*/ 76908 h 105906"/>
                <a:gd name="connsiteX6" fmla="*/ 62410 w 86995"/>
                <a:gd name="connsiteY6" fmla="*/ 67452 h 105906"/>
                <a:gd name="connsiteX7" fmla="*/ 45389 w 86995"/>
                <a:gd name="connsiteY7" fmla="*/ 61779 h 105906"/>
                <a:gd name="connsiteX8" fmla="*/ 35303 w 86995"/>
                <a:gd name="connsiteY8" fmla="*/ 59888 h 105906"/>
                <a:gd name="connsiteX9" fmla="*/ 3152 w 86995"/>
                <a:gd name="connsiteY9" fmla="*/ 29629 h 105906"/>
                <a:gd name="connsiteX10" fmla="*/ 13239 w 86995"/>
                <a:gd name="connsiteY10" fmla="*/ 8195 h 105906"/>
                <a:gd name="connsiteX11" fmla="*/ 41607 w 86995"/>
                <a:gd name="connsiteY11" fmla="*/ 0 h 105906"/>
                <a:gd name="connsiteX12" fmla="*/ 84474 w 86995"/>
                <a:gd name="connsiteY12" fmla="*/ 34041 h 105906"/>
                <a:gd name="connsiteX13" fmla="*/ 65562 w 86995"/>
                <a:gd name="connsiteY13" fmla="*/ 34041 h 105906"/>
                <a:gd name="connsiteX14" fmla="*/ 59258 w 86995"/>
                <a:gd name="connsiteY14" fmla="*/ 19542 h 105906"/>
                <a:gd name="connsiteX15" fmla="*/ 41607 w 86995"/>
                <a:gd name="connsiteY15" fmla="*/ 15129 h 105906"/>
                <a:gd name="connsiteX16" fmla="*/ 27107 w 86995"/>
                <a:gd name="connsiteY16" fmla="*/ 18912 h 105906"/>
                <a:gd name="connsiteX17" fmla="*/ 22064 w 86995"/>
                <a:gd name="connsiteY17" fmla="*/ 28998 h 105906"/>
                <a:gd name="connsiteX18" fmla="*/ 26477 w 86995"/>
                <a:gd name="connsiteY18" fmla="*/ 37824 h 105906"/>
                <a:gd name="connsiteX19" fmla="*/ 40976 w 86995"/>
                <a:gd name="connsiteY19" fmla="*/ 42867 h 105906"/>
                <a:gd name="connsiteX20" fmla="*/ 51693 w 86995"/>
                <a:gd name="connsiteY20" fmla="*/ 44758 h 105906"/>
                <a:gd name="connsiteX21" fmla="*/ 78801 w 86995"/>
                <a:gd name="connsiteY21" fmla="*/ 55475 h 105906"/>
                <a:gd name="connsiteX22" fmla="*/ 86996 w 86995"/>
                <a:gd name="connsiteY22" fmla="*/ 75017 h 105906"/>
                <a:gd name="connsiteX23" fmla="*/ 75649 w 86995"/>
                <a:gd name="connsiteY23" fmla="*/ 97711 h 105906"/>
                <a:gd name="connsiteX24" fmla="*/ 44128 w 86995"/>
                <a:gd name="connsiteY24" fmla="*/ 105906 h 1059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86995" h="105906">
                  <a:moveTo>
                    <a:pt x="44128" y="105906"/>
                  </a:moveTo>
                  <a:cubicBezTo>
                    <a:pt x="15760" y="105906"/>
                    <a:pt x="1261" y="94559"/>
                    <a:pt x="0" y="71235"/>
                  </a:cubicBezTo>
                  <a:lnTo>
                    <a:pt x="19543" y="71235"/>
                  </a:lnTo>
                  <a:cubicBezTo>
                    <a:pt x="20173" y="78169"/>
                    <a:pt x="22695" y="83212"/>
                    <a:pt x="26477" y="86364"/>
                  </a:cubicBezTo>
                  <a:cubicBezTo>
                    <a:pt x="30259" y="89516"/>
                    <a:pt x="36564" y="90777"/>
                    <a:pt x="44759" y="90777"/>
                  </a:cubicBezTo>
                  <a:cubicBezTo>
                    <a:pt x="59889" y="90777"/>
                    <a:pt x="66823" y="86364"/>
                    <a:pt x="66823" y="76908"/>
                  </a:cubicBezTo>
                  <a:cubicBezTo>
                    <a:pt x="66823" y="73126"/>
                    <a:pt x="65562" y="69974"/>
                    <a:pt x="62410" y="67452"/>
                  </a:cubicBezTo>
                  <a:cubicBezTo>
                    <a:pt x="59258" y="64931"/>
                    <a:pt x="53585" y="63670"/>
                    <a:pt x="45389" y="61779"/>
                  </a:cubicBezTo>
                  <a:lnTo>
                    <a:pt x="35303" y="59888"/>
                  </a:lnTo>
                  <a:cubicBezTo>
                    <a:pt x="13869" y="56105"/>
                    <a:pt x="3152" y="46019"/>
                    <a:pt x="3152" y="29629"/>
                  </a:cubicBezTo>
                  <a:cubicBezTo>
                    <a:pt x="3152" y="20803"/>
                    <a:pt x="6304" y="13238"/>
                    <a:pt x="13239" y="8195"/>
                  </a:cubicBezTo>
                  <a:cubicBezTo>
                    <a:pt x="20173" y="3152"/>
                    <a:pt x="29629" y="0"/>
                    <a:pt x="41607" y="0"/>
                  </a:cubicBezTo>
                  <a:cubicBezTo>
                    <a:pt x="69345" y="0"/>
                    <a:pt x="83844" y="11347"/>
                    <a:pt x="84474" y="34041"/>
                  </a:cubicBezTo>
                  <a:lnTo>
                    <a:pt x="65562" y="34041"/>
                  </a:lnTo>
                  <a:cubicBezTo>
                    <a:pt x="64932" y="27107"/>
                    <a:pt x="63041" y="22694"/>
                    <a:pt x="59258" y="19542"/>
                  </a:cubicBezTo>
                  <a:cubicBezTo>
                    <a:pt x="55476" y="16390"/>
                    <a:pt x="49802" y="15129"/>
                    <a:pt x="41607" y="15129"/>
                  </a:cubicBezTo>
                  <a:cubicBezTo>
                    <a:pt x="35303" y="15129"/>
                    <a:pt x="30259" y="16390"/>
                    <a:pt x="27107" y="18912"/>
                  </a:cubicBezTo>
                  <a:cubicBezTo>
                    <a:pt x="23955" y="21433"/>
                    <a:pt x="22064" y="24585"/>
                    <a:pt x="22064" y="28998"/>
                  </a:cubicBezTo>
                  <a:cubicBezTo>
                    <a:pt x="22064" y="32781"/>
                    <a:pt x="23325" y="35933"/>
                    <a:pt x="26477" y="37824"/>
                  </a:cubicBezTo>
                  <a:cubicBezTo>
                    <a:pt x="29629" y="39715"/>
                    <a:pt x="34042" y="41606"/>
                    <a:pt x="40976" y="42867"/>
                  </a:cubicBezTo>
                  <a:lnTo>
                    <a:pt x="51693" y="44758"/>
                  </a:lnTo>
                  <a:cubicBezTo>
                    <a:pt x="64301" y="47280"/>
                    <a:pt x="73127" y="50432"/>
                    <a:pt x="78801" y="55475"/>
                  </a:cubicBezTo>
                  <a:cubicBezTo>
                    <a:pt x="84474" y="59888"/>
                    <a:pt x="86996" y="66822"/>
                    <a:pt x="86996" y="75017"/>
                  </a:cubicBezTo>
                  <a:cubicBezTo>
                    <a:pt x="86996" y="85103"/>
                    <a:pt x="83214" y="92668"/>
                    <a:pt x="75649" y="97711"/>
                  </a:cubicBezTo>
                  <a:cubicBezTo>
                    <a:pt x="68084" y="103385"/>
                    <a:pt x="57997" y="105906"/>
                    <a:pt x="44128" y="105906"/>
                  </a:cubicBezTo>
                </a:path>
              </a:pathLst>
            </a:custGeom>
            <a:solidFill>
              <a:srgbClr val="FFFFFF"/>
            </a:solidFill>
            <a:ln w="627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b-NO"/>
            </a:p>
          </p:txBody>
        </p:sp>
        <p:sp>
          <p:nvSpPr>
            <p:cNvPr id="8" name="Freeform: Shape 7">
              <a:extLst>
                <a:ext uri="{FF2B5EF4-FFF2-40B4-BE49-F238E27FC236}">
                  <a16:creationId xmlns:a16="http://schemas.microsoft.com/office/drawing/2014/main" id="{63560E75-22B8-4EE9-9C50-78F0FED1301C}"/>
                </a:ext>
              </a:extLst>
            </p:cNvPr>
            <p:cNvSpPr/>
            <p:nvPr/>
          </p:nvSpPr>
          <p:spPr>
            <a:xfrm>
              <a:off x="1137133" y="6366910"/>
              <a:ext cx="91408" cy="139317"/>
            </a:xfrm>
            <a:custGeom>
              <a:avLst/>
              <a:gdLst>
                <a:gd name="connsiteX0" fmla="*/ 91409 w 91408"/>
                <a:gd name="connsiteY0" fmla="*/ 139317 h 139317"/>
                <a:gd name="connsiteX1" fmla="*/ 68714 w 91408"/>
                <a:gd name="connsiteY1" fmla="*/ 139317 h 139317"/>
                <a:gd name="connsiteX2" fmla="*/ 36564 w 91408"/>
                <a:gd name="connsiteY2" fmla="*/ 88255 h 139317"/>
                <a:gd name="connsiteX3" fmla="*/ 19543 w 91408"/>
                <a:gd name="connsiteY3" fmla="*/ 104646 h 139317"/>
                <a:gd name="connsiteX4" fmla="*/ 19543 w 91408"/>
                <a:gd name="connsiteY4" fmla="*/ 139317 h 139317"/>
                <a:gd name="connsiteX5" fmla="*/ 0 w 91408"/>
                <a:gd name="connsiteY5" fmla="*/ 139317 h 139317"/>
                <a:gd name="connsiteX6" fmla="*/ 0 w 91408"/>
                <a:gd name="connsiteY6" fmla="*/ 0 h 139317"/>
                <a:gd name="connsiteX7" fmla="*/ 19543 w 91408"/>
                <a:gd name="connsiteY7" fmla="*/ 0 h 139317"/>
                <a:gd name="connsiteX8" fmla="*/ 19543 w 91408"/>
                <a:gd name="connsiteY8" fmla="*/ 81951 h 139317"/>
                <a:gd name="connsiteX9" fmla="*/ 64301 w 91408"/>
                <a:gd name="connsiteY9" fmla="*/ 38454 h 139317"/>
                <a:gd name="connsiteX10" fmla="*/ 88887 w 91408"/>
                <a:gd name="connsiteY10" fmla="*/ 38454 h 139317"/>
                <a:gd name="connsiteX11" fmla="*/ 50432 w 91408"/>
                <a:gd name="connsiteY11" fmla="*/ 75647 h 1393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91408" h="139317">
                  <a:moveTo>
                    <a:pt x="91409" y="139317"/>
                  </a:moveTo>
                  <a:lnTo>
                    <a:pt x="68714" y="139317"/>
                  </a:lnTo>
                  <a:lnTo>
                    <a:pt x="36564" y="88255"/>
                  </a:lnTo>
                  <a:lnTo>
                    <a:pt x="19543" y="104646"/>
                  </a:lnTo>
                  <a:lnTo>
                    <a:pt x="19543" y="139317"/>
                  </a:lnTo>
                  <a:lnTo>
                    <a:pt x="0" y="139317"/>
                  </a:lnTo>
                  <a:lnTo>
                    <a:pt x="0" y="0"/>
                  </a:lnTo>
                  <a:lnTo>
                    <a:pt x="19543" y="0"/>
                  </a:lnTo>
                  <a:lnTo>
                    <a:pt x="19543" y="81951"/>
                  </a:lnTo>
                  <a:lnTo>
                    <a:pt x="64301" y="38454"/>
                  </a:lnTo>
                  <a:lnTo>
                    <a:pt x="88887" y="38454"/>
                  </a:lnTo>
                  <a:lnTo>
                    <a:pt x="50432" y="75647"/>
                  </a:lnTo>
                  <a:close/>
                </a:path>
              </a:pathLst>
            </a:custGeom>
            <a:solidFill>
              <a:srgbClr val="FFFFFF"/>
            </a:solidFill>
            <a:ln w="627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b-NO"/>
            </a:p>
          </p:txBody>
        </p:sp>
        <p:sp>
          <p:nvSpPr>
            <p:cNvPr id="9" name="Freeform: Shape 8">
              <a:extLst>
                <a:ext uri="{FF2B5EF4-FFF2-40B4-BE49-F238E27FC236}">
                  <a16:creationId xmlns:a16="http://schemas.microsoft.com/office/drawing/2014/main" id="{C32BBDD3-B7CC-4CD7-9B3B-A557384B3EC5}"/>
                </a:ext>
              </a:extLst>
            </p:cNvPr>
            <p:cNvSpPr/>
            <p:nvPr/>
          </p:nvSpPr>
          <p:spPr>
            <a:xfrm>
              <a:off x="1279605" y="6366910"/>
              <a:ext cx="85735" cy="139317"/>
            </a:xfrm>
            <a:custGeom>
              <a:avLst/>
              <a:gdLst>
                <a:gd name="connsiteX0" fmla="*/ 50432 w 85735"/>
                <a:gd name="connsiteY0" fmla="*/ 35933 h 139317"/>
                <a:gd name="connsiteX1" fmla="*/ 76279 w 85735"/>
                <a:gd name="connsiteY1" fmla="*/ 45388 h 139317"/>
                <a:gd name="connsiteX2" fmla="*/ 85735 w 85735"/>
                <a:gd name="connsiteY2" fmla="*/ 71865 h 139317"/>
                <a:gd name="connsiteX3" fmla="*/ 85735 w 85735"/>
                <a:gd name="connsiteY3" fmla="*/ 139317 h 139317"/>
                <a:gd name="connsiteX4" fmla="*/ 66193 w 85735"/>
                <a:gd name="connsiteY4" fmla="*/ 139317 h 139317"/>
                <a:gd name="connsiteX5" fmla="*/ 66193 w 85735"/>
                <a:gd name="connsiteY5" fmla="*/ 74387 h 139317"/>
                <a:gd name="connsiteX6" fmla="*/ 44759 w 85735"/>
                <a:gd name="connsiteY6" fmla="*/ 52953 h 139317"/>
                <a:gd name="connsiteX7" fmla="*/ 27107 w 85735"/>
                <a:gd name="connsiteY7" fmla="*/ 60518 h 139317"/>
                <a:gd name="connsiteX8" fmla="*/ 19543 w 85735"/>
                <a:gd name="connsiteY8" fmla="*/ 81951 h 139317"/>
                <a:gd name="connsiteX9" fmla="*/ 19543 w 85735"/>
                <a:gd name="connsiteY9" fmla="*/ 138687 h 139317"/>
                <a:gd name="connsiteX10" fmla="*/ 0 w 85735"/>
                <a:gd name="connsiteY10" fmla="*/ 138687 h 139317"/>
                <a:gd name="connsiteX11" fmla="*/ 0 w 85735"/>
                <a:gd name="connsiteY11" fmla="*/ 0 h 139317"/>
                <a:gd name="connsiteX12" fmla="*/ 19543 w 85735"/>
                <a:gd name="connsiteY12" fmla="*/ 0 h 139317"/>
                <a:gd name="connsiteX13" fmla="*/ 19543 w 85735"/>
                <a:gd name="connsiteY13" fmla="*/ 52323 h 139317"/>
                <a:gd name="connsiteX14" fmla="*/ 50432 w 85735"/>
                <a:gd name="connsiteY14" fmla="*/ 35933 h 1393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85735" h="139317">
                  <a:moveTo>
                    <a:pt x="50432" y="35933"/>
                  </a:moveTo>
                  <a:cubicBezTo>
                    <a:pt x="61780" y="35933"/>
                    <a:pt x="69975" y="39085"/>
                    <a:pt x="76279" y="45388"/>
                  </a:cubicBezTo>
                  <a:cubicBezTo>
                    <a:pt x="82583" y="51692"/>
                    <a:pt x="85735" y="60518"/>
                    <a:pt x="85735" y="71865"/>
                  </a:cubicBezTo>
                  <a:lnTo>
                    <a:pt x="85735" y="139317"/>
                  </a:lnTo>
                  <a:lnTo>
                    <a:pt x="66193" y="139317"/>
                  </a:lnTo>
                  <a:lnTo>
                    <a:pt x="66193" y="74387"/>
                  </a:lnTo>
                  <a:cubicBezTo>
                    <a:pt x="66193" y="60518"/>
                    <a:pt x="59258" y="52953"/>
                    <a:pt x="44759" y="52953"/>
                  </a:cubicBezTo>
                  <a:cubicBezTo>
                    <a:pt x="38455" y="52953"/>
                    <a:pt x="32151" y="55475"/>
                    <a:pt x="27107" y="60518"/>
                  </a:cubicBezTo>
                  <a:cubicBezTo>
                    <a:pt x="22064" y="65561"/>
                    <a:pt x="19543" y="73126"/>
                    <a:pt x="19543" y="81951"/>
                  </a:cubicBezTo>
                  <a:lnTo>
                    <a:pt x="19543" y="138687"/>
                  </a:lnTo>
                  <a:lnTo>
                    <a:pt x="0" y="138687"/>
                  </a:lnTo>
                  <a:lnTo>
                    <a:pt x="0" y="0"/>
                  </a:lnTo>
                  <a:lnTo>
                    <a:pt x="19543" y="0"/>
                  </a:lnTo>
                  <a:lnTo>
                    <a:pt x="19543" y="52323"/>
                  </a:lnTo>
                  <a:cubicBezTo>
                    <a:pt x="27107" y="41606"/>
                    <a:pt x="37824" y="35933"/>
                    <a:pt x="50432" y="35933"/>
                  </a:cubicBezTo>
                </a:path>
              </a:pathLst>
            </a:custGeom>
            <a:solidFill>
              <a:srgbClr val="FFFFFF"/>
            </a:solidFill>
            <a:ln w="627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b-NO"/>
            </a:p>
          </p:txBody>
        </p:sp>
        <p:sp>
          <p:nvSpPr>
            <p:cNvPr id="10" name="Freeform: Shape 9">
              <a:extLst>
                <a:ext uri="{FF2B5EF4-FFF2-40B4-BE49-F238E27FC236}">
                  <a16:creationId xmlns:a16="http://schemas.microsoft.com/office/drawing/2014/main" id="{2EA0F207-821D-42A2-B2D0-5B62B6F115FF}"/>
                </a:ext>
              </a:extLst>
            </p:cNvPr>
            <p:cNvSpPr/>
            <p:nvPr/>
          </p:nvSpPr>
          <p:spPr>
            <a:xfrm>
              <a:off x="1382991" y="6402843"/>
              <a:ext cx="95821" cy="105906"/>
            </a:xfrm>
            <a:custGeom>
              <a:avLst/>
              <a:gdLst>
                <a:gd name="connsiteX0" fmla="*/ 47911 w 95821"/>
                <a:gd name="connsiteY0" fmla="*/ 16390 h 105906"/>
                <a:gd name="connsiteX1" fmla="*/ 28999 w 95821"/>
                <a:gd name="connsiteY1" fmla="*/ 23325 h 105906"/>
                <a:gd name="connsiteX2" fmla="*/ 20173 w 95821"/>
                <a:gd name="connsiteY2" fmla="*/ 43497 h 105906"/>
                <a:gd name="connsiteX3" fmla="*/ 76279 w 95821"/>
                <a:gd name="connsiteY3" fmla="*/ 43497 h 105906"/>
                <a:gd name="connsiteX4" fmla="*/ 67453 w 95821"/>
                <a:gd name="connsiteY4" fmla="*/ 23325 h 105906"/>
                <a:gd name="connsiteX5" fmla="*/ 47911 w 95821"/>
                <a:gd name="connsiteY5" fmla="*/ 16390 h 105906"/>
                <a:gd name="connsiteX6" fmla="*/ 95822 w 95821"/>
                <a:gd name="connsiteY6" fmla="*/ 53584 h 105906"/>
                <a:gd name="connsiteX7" fmla="*/ 95822 w 95821"/>
                <a:gd name="connsiteY7" fmla="*/ 59257 h 105906"/>
                <a:gd name="connsiteX8" fmla="*/ 19543 w 95821"/>
                <a:gd name="connsiteY8" fmla="*/ 59257 h 105906"/>
                <a:gd name="connsiteX9" fmla="*/ 28368 w 95821"/>
                <a:gd name="connsiteY9" fmla="*/ 81951 h 105906"/>
                <a:gd name="connsiteX10" fmla="*/ 48541 w 95821"/>
                <a:gd name="connsiteY10" fmla="*/ 89516 h 105906"/>
                <a:gd name="connsiteX11" fmla="*/ 73757 w 95821"/>
                <a:gd name="connsiteY11" fmla="*/ 72496 h 105906"/>
                <a:gd name="connsiteX12" fmla="*/ 93300 w 95821"/>
                <a:gd name="connsiteY12" fmla="*/ 72496 h 105906"/>
                <a:gd name="connsiteX13" fmla="*/ 77540 w 95821"/>
                <a:gd name="connsiteY13" fmla="*/ 97081 h 105906"/>
                <a:gd name="connsiteX14" fmla="*/ 48541 w 95821"/>
                <a:gd name="connsiteY14" fmla="*/ 105906 h 105906"/>
                <a:gd name="connsiteX15" fmla="*/ 13238 w 95821"/>
                <a:gd name="connsiteY15" fmla="*/ 91407 h 105906"/>
                <a:gd name="connsiteX16" fmla="*/ 0 w 95821"/>
                <a:gd name="connsiteY16" fmla="*/ 52953 h 105906"/>
                <a:gd name="connsiteX17" fmla="*/ 13238 w 95821"/>
                <a:gd name="connsiteY17" fmla="*/ 14499 h 105906"/>
                <a:gd name="connsiteX18" fmla="*/ 47911 w 95821"/>
                <a:gd name="connsiteY18" fmla="*/ 0 h 105906"/>
                <a:gd name="connsiteX19" fmla="*/ 83214 w 95821"/>
                <a:gd name="connsiteY19" fmla="*/ 15129 h 105906"/>
                <a:gd name="connsiteX20" fmla="*/ 95822 w 95821"/>
                <a:gd name="connsiteY20" fmla="*/ 53584 h 1059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95821" h="105906">
                  <a:moveTo>
                    <a:pt x="47911" y="16390"/>
                  </a:moveTo>
                  <a:cubicBezTo>
                    <a:pt x="40346" y="16390"/>
                    <a:pt x="34042" y="18912"/>
                    <a:pt x="28999" y="23325"/>
                  </a:cubicBezTo>
                  <a:cubicBezTo>
                    <a:pt x="23955" y="27737"/>
                    <a:pt x="20803" y="34672"/>
                    <a:pt x="20173" y="43497"/>
                  </a:cubicBezTo>
                  <a:lnTo>
                    <a:pt x="76279" y="43497"/>
                  </a:lnTo>
                  <a:cubicBezTo>
                    <a:pt x="75649" y="35302"/>
                    <a:pt x="72497" y="28368"/>
                    <a:pt x="67453" y="23325"/>
                  </a:cubicBezTo>
                  <a:cubicBezTo>
                    <a:pt x="62410" y="18912"/>
                    <a:pt x="56106" y="16390"/>
                    <a:pt x="47911" y="16390"/>
                  </a:cubicBezTo>
                  <a:moveTo>
                    <a:pt x="95822" y="53584"/>
                  </a:moveTo>
                  <a:lnTo>
                    <a:pt x="95822" y="59257"/>
                  </a:lnTo>
                  <a:lnTo>
                    <a:pt x="19543" y="59257"/>
                  </a:lnTo>
                  <a:cubicBezTo>
                    <a:pt x="20173" y="69344"/>
                    <a:pt x="23325" y="76908"/>
                    <a:pt x="28368" y="81951"/>
                  </a:cubicBezTo>
                  <a:cubicBezTo>
                    <a:pt x="33412" y="86995"/>
                    <a:pt x="40346" y="89516"/>
                    <a:pt x="48541" y="89516"/>
                  </a:cubicBezTo>
                  <a:cubicBezTo>
                    <a:pt x="61149" y="89516"/>
                    <a:pt x="69975" y="83843"/>
                    <a:pt x="73757" y="72496"/>
                  </a:cubicBezTo>
                  <a:lnTo>
                    <a:pt x="93300" y="72496"/>
                  </a:lnTo>
                  <a:cubicBezTo>
                    <a:pt x="90778" y="82582"/>
                    <a:pt x="85105" y="90777"/>
                    <a:pt x="77540" y="97081"/>
                  </a:cubicBezTo>
                  <a:cubicBezTo>
                    <a:pt x="69345" y="102754"/>
                    <a:pt x="59889" y="105906"/>
                    <a:pt x="48541" y="105906"/>
                  </a:cubicBezTo>
                  <a:cubicBezTo>
                    <a:pt x="34042" y="105906"/>
                    <a:pt x="22064" y="100863"/>
                    <a:pt x="13238" y="91407"/>
                  </a:cubicBezTo>
                  <a:cubicBezTo>
                    <a:pt x="4413" y="81951"/>
                    <a:pt x="0" y="68713"/>
                    <a:pt x="0" y="52953"/>
                  </a:cubicBezTo>
                  <a:cubicBezTo>
                    <a:pt x="0" y="37193"/>
                    <a:pt x="4413" y="23955"/>
                    <a:pt x="13238" y="14499"/>
                  </a:cubicBezTo>
                  <a:cubicBezTo>
                    <a:pt x="22064" y="5043"/>
                    <a:pt x="33412" y="0"/>
                    <a:pt x="47911" y="0"/>
                  </a:cubicBezTo>
                  <a:cubicBezTo>
                    <a:pt x="63041" y="0"/>
                    <a:pt x="74388" y="5043"/>
                    <a:pt x="83214" y="15129"/>
                  </a:cubicBezTo>
                  <a:cubicBezTo>
                    <a:pt x="92039" y="25216"/>
                    <a:pt x="95822" y="37824"/>
                    <a:pt x="95822" y="53584"/>
                  </a:cubicBezTo>
                </a:path>
              </a:pathLst>
            </a:custGeom>
            <a:solidFill>
              <a:srgbClr val="FFFFFF"/>
            </a:solidFill>
            <a:ln w="627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b-NO"/>
            </a:p>
          </p:txBody>
        </p:sp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B829E79C-647C-4193-AF7C-1E9AF8D82BF4}"/>
                </a:ext>
              </a:extLst>
            </p:cNvPr>
            <p:cNvSpPr/>
            <p:nvPr/>
          </p:nvSpPr>
          <p:spPr>
            <a:xfrm>
              <a:off x="1496464" y="6366910"/>
              <a:ext cx="19542" cy="139317"/>
            </a:xfrm>
            <a:custGeom>
              <a:avLst/>
              <a:gdLst>
                <a:gd name="connsiteX0" fmla="*/ 0 w 19542"/>
                <a:gd name="connsiteY0" fmla="*/ 0 h 139317"/>
                <a:gd name="connsiteX1" fmla="*/ 19543 w 19542"/>
                <a:gd name="connsiteY1" fmla="*/ 0 h 139317"/>
                <a:gd name="connsiteX2" fmla="*/ 19543 w 19542"/>
                <a:gd name="connsiteY2" fmla="*/ 139317 h 139317"/>
                <a:gd name="connsiteX3" fmla="*/ 0 w 19542"/>
                <a:gd name="connsiteY3" fmla="*/ 139317 h 1393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542" h="139317">
                  <a:moveTo>
                    <a:pt x="0" y="0"/>
                  </a:moveTo>
                  <a:lnTo>
                    <a:pt x="19543" y="0"/>
                  </a:lnTo>
                  <a:lnTo>
                    <a:pt x="19543" y="139317"/>
                  </a:lnTo>
                  <a:lnTo>
                    <a:pt x="0" y="139317"/>
                  </a:lnTo>
                  <a:close/>
                </a:path>
              </a:pathLst>
            </a:custGeom>
            <a:solidFill>
              <a:srgbClr val="FFFFFF"/>
            </a:solidFill>
            <a:ln w="627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b-NO"/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1FD0BC48-0539-4028-AB7F-F88CE3F8B735}"/>
                </a:ext>
              </a:extLst>
            </p:cNvPr>
            <p:cNvSpPr/>
            <p:nvPr/>
          </p:nvSpPr>
          <p:spPr>
            <a:xfrm>
              <a:off x="1531137" y="6402843"/>
              <a:ext cx="86996" cy="105906"/>
            </a:xfrm>
            <a:custGeom>
              <a:avLst/>
              <a:gdLst>
                <a:gd name="connsiteX0" fmla="*/ 44128 w 86996"/>
                <a:gd name="connsiteY0" fmla="*/ 105906 h 105906"/>
                <a:gd name="connsiteX1" fmla="*/ 0 w 86996"/>
                <a:gd name="connsiteY1" fmla="*/ 71235 h 105906"/>
                <a:gd name="connsiteX2" fmla="*/ 19543 w 86996"/>
                <a:gd name="connsiteY2" fmla="*/ 71235 h 105906"/>
                <a:gd name="connsiteX3" fmla="*/ 26477 w 86996"/>
                <a:gd name="connsiteY3" fmla="*/ 86364 h 105906"/>
                <a:gd name="connsiteX4" fmla="*/ 44759 w 86996"/>
                <a:gd name="connsiteY4" fmla="*/ 90777 h 105906"/>
                <a:gd name="connsiteX5" fmla="*/ 66823 w 86996"/>
                <a:gd name="connsiteY5" fmla="*/ 76908 h 105906"/>
                <a:gd name="connsiteX6" fmla="*/ 62410 w 86996"/>
                <a:gd name="connsiteY6" fmla="*/ 67452 h 105906"/>
                <a:gd name="connsiteX7" fmla="*/ 45389 w 86996"/>
                <a:gd name="connsiteY7" fmla="*/ 61779 h 105906"/>
                <a:gd name="connsiteX8" fmla="*/ 35303 w 86996"/>
                <a:gd name="connsiteY8" fmla="*/ 59888 h 105906"/>
                <a:gd name="connsiteX9" fmla="*/ 3152 w 86996"/>
                <a:gd name="connsiteY9" fmla="*/ 29629 h 105906"/>
                <a:gd name="connsiteX10" fmla="*/ 13238 w 86996"/>
                <a:gd name="connsiteY10" fmla="*/ 8195 h 105906"/>
                <a:gd name="connsiteX11" fmla="*/ 41607 w 86996"/>
                <a:gd name="connsiteY11" fmla="*/ 0 h 105906"/>
                <a:gd name="connsiteX12" fmla="*/ 84474 w 86996"/>
                <a:gd name="connsiteY12" fmla="*/ 34041 h 105906"/>
                <a:gd name="connsiteX13" fmla="*/ 65562 w 86996"/>
                <a:gd name="connsiteY13" fmla="*/ 34041 h 105906"/>
                <a:gd name="connsiteX14" fmla="*/ 59258 w 86996"/>
                <a:gd name="connsiteY14" fmla="*/ 19542 h 105906"/>
                <a:gd name="connsiteX15" fmla="*/ 41607 w 86996"/>
                <a:gd name="connsiteY15" fmla="*/ 15129 h 105906"/>
                <a:gd name="connsiteX16" fmla="*/ 27107 w 86996"/>
                <a:gd name="connsiteY16" fmla="*/ 18912 h 105906"/>
                <a:gd name="connsiteX17" fmla="*/ 22064 w 86996"/>
                <a:gd name="connsiteY17" fmla="*/ 28998 h 105906"/>
                <a:gd name="connsiteX18" fmla="*/ 26477 w 86996"/>
                <a:gd name="connsiteY18" fmla="*/ 37824 h 105906"/>
                <a:gd name="connsiteX19" fmla="*/ 40976 w 86996"/>
                <a:gd name="connsiteY19" fmla="*/ 42867 h 105906"/>
                <a:gd name="connsiteX20" fmla="*/ 51693 w 86996"/>
                <a:gd name="connsiteY20" fmla="*/ 44758 h 105906"/>
                <a:gd name="connsiteX21" fmla="*/ 78801 w 86996"/>
                <a:gd name="connsiteY21" fmla="*/ 55475 h 105906"/>
                <a:gd name="connsiteX22" fmla="*/ 86996 w 86996"/>
                <a:gd name="connsiteY22" fmla="*/ 75017 h 105906"/>
                <a:gd name="connsiteX23" fmla="*/ 75649 w 86996"/>
                <a:gd name="connsiteY23" fmla="*/ 97711 h 105906"/>
                <a:gd name="connsiteX24" fmla="*/ 44128 w 86996"/>
                <a:gd name="connsiteY24" fmla="*/ 105906 h 1059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86996" h="105906">
                  <a:moveTo>
                    <a:pt x="44128" y="105906"/>
                  </a:moveTo>
                  <a:cubicBezTo>
                    <a:pt x="15760" y="105906"/>
                    <a:pt x="1261" y="94559"/>
                    <a:pt x="0" y="71235"/>
                  </a:cubicBezTo>
                  <a:lnTo>
                    <a:pt x="19543" y="71235"/>
                  </a:lnTo>
                  <a:cubicBezTo>
                    <a:pt x="20173" y="78169"/>
                    <a:pt x="22695" y="83212"/>
                    <a:pt x="26477" y="86364"/>
                  </a:cubicBezTo>
                  <a:cubicBezTo>
                    <a:pt x="30260" y="89516"/>
                    <a:pt x="36564" y="90777"/>
                    <a:pt x="44759" y="90777"/>
                  </a:cubicBezTo>
                  <a:cubicBezTo>
                    <a:pt x="59889" y="90777"/>
                    <a:pt x="66823" y="86364"/>
                    <a:pt x="66823" y="76908"/>
                  </a:cubicBezTo>
                  <a:cubicBezTo>
                    <a:pt x="66823" y="73126"/>
                    <a:pt x="65562" y="69974"/>
                    <a:pt x="62410" y="67452"/>
                  </a:cubicBezTo>
                  <a:cubicBezTo>
                    <a:pt x="59258" y="64931"/>
                    <a:pt x="53585" y="63670"/>
                    <a:pt x="45389" y="61779"/>
                  </a:cubicBezTo>
                  <a:lnTo>
                    <a:pt x="35303" y="59888"/>
                  </a:lnTo>
                  <a:cubicBezTo>
                    <a:pt x="13869" y="56105"/>
                    <a:pt x="3152" y="46019"/>
                    <a:pt x="3152" y="29629"/>
                  </a:cubicBezTo>
                  <a:cubicBezTo>
                    <a:pt x="3152" y="20803"/>
                    <a:pt x="6304" y="13238"/>
                    <a:pt x="13238" y="8195"/>
                  </a:cubicBezTo>
                  <a:cubicBezTo>
                    <a:pt x="20173" y="3152"/>
                    <a:pt x="29629" y="0"/>
                    <a:pt x="41607" y="0"/>
                  </a:cubicBezTo>
                  <a:cubicBezTo>
                    <a:pt x="69345" y="0"/>
                    <a:pt x="83844" y="11347"/>
                    <a:pt x="84474" y="34041"/>
                  </a:cubicBezTo>
                  <a:lnTo>
                    <a:pt x="65562" y="34041"/>
                  </a:lnTo>
                  <a:cubicBezTo>
                    <a:pt x="64932" y="27107"/>
                    <a:pt x="63041" y="22694"/>
                    <a:pt x="59258" y="19542"/>
                  </a:cubicBezTo>
                  <a:cubicBezTo>
                    <a:pt x="55476" y="17021"/>
                    <a:pt x="49802" y="15129"/>
                    <a:pt x="41607" y="15129"/>
                  </a:cubicBezTo>
                  <a:cubicBezTo>
                    <a:pt x="35303" y="15129"/>
                    <a:pt x="30260" y="16390"/>
                    <a:pt x="27107" y="18912"/>
                  </a:cubicBezTo>
                  <a:cubicBezTo>
                    <a:pt x="23955" y="21433"/>
                    <a:pt x="22064" y="24585"/>
                    <a:pt x="22064" y="28998"/>
                  </a:cubicBezTo>
                  <a:cubicBezTo>
                    <a:pt x="22064" y="32781"/>
                    <a:pt x="23325" y="35933"/>
                    <a:pt x="26477" y="37824"/>
                  </a:cubicBezTo>
                  <a:cubicBezTo>
                    <a:pt x="29629" y="39715"/>
                    <a:pt x="34042" y="41606"/>
                    <a:pt x="40976" y="42867"/>
                  </a:cubicBezTo>
                  <a:lnTo>
                    <a:pt x="51693" y="44758"/>
                  </a:lnTo>
                  <a:cubicBezTo>
                    <a:pt x="64301" y="47280"/>
                    <a:pt x="73127" y="50432"/>
                    <a:pt x="78801" y="55475"/>
                  </a:cubicBezTo>
                  <a:cubicBezTo>
                    <a:pt x="84474" y="59888"/>
                    <a:pt x="86996" y="66822"/>
                    <a:pt x="86996" y="75017"/>
                  </a:cubicBezTo>
                  <a:cubicBezTo>
                    <a:pt x="86996" y="85103"/>
                    <a:pt x="83214" y="92668"/>
                    <a:pt x="75649" y="97711"/>
                  </a:cubicBezTo>
                  <a:cubicBezTo>
                    <a:pt x="68084" y="103385"/>
                    <a:pt x="57367" y="105906"/>
                    <a:pt x="44128" y="105906"/>
                  </a:cubicBezTo>
                </a:path>
              </a:pathLst>
            </a:custGeom>
            <a:solidFill>
              <a:srgbClr val="FFFFFF"/>
            </a:solidFill>
            <a:ln w="627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b-NO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9E06AC76-CF28-4BB8-B0AC-B6CA862B7B4A}"/>
                </a:ext>
              </a:extLst>
            </p:cNvPr>
            <p:cNvSpPr/>
            <p:nvPr/>
          </p:nvSpPr>
          <p:spPr>
            <a:xfrm>
              <a:off x="1627589" y="6402843"/>
              <a:ext cx="95821" cy="105906"/>
            </a:xfrm>
            <a:custGeom>
              <a:avLst/>
              <a:gdLst>
                <a:gd name="connsiteX0" fmla="*/ 47911 w 95821"/>
                <a:gd name="connsiteY0" fmla="*/ 16390 h 105906"/>
                <a:gd name="connsiteX1" fmla="*/ 28999 w 95821"/>
                <a:gd name="connsiteY1" fmla="*/ 23325 h 105906"/>
                <a:gd name="connsiteX2" fmla="*/ 20173 w 95821"/>
                <a:gd name="connsiteY2" fmla="*/ 43497 h 105906"/>
                <a:gd name="connsiteX3" fmla="*/ 76279 w 95821"/>
                <a:gd name="connsiteY3" fmla="*/ 43497 h 105906"/>
                <a:gd name="connsiteX4" fmla="*/ 67453 w 95821"/>
                <a:gd name="connsiteY4" fmla="*/ 23325 h 105906"/>
                <a:gd name="connsiteX5" fmla="*/ 47911 w 95821"/>
                <a:gd name="connsiteY5" fmla="*/ 16390 h 105906"/>
                <a:gd name="connsiteX6" fmla="*/ 95822 w 95821"/>
                <a:gd name="connsiteY6" fmla="*/ 53584 h 105906"/>
                <a:gd name="connsiteX7" fmla="*/ 95822 w 95821"/>
                <a:gd name="connsiteY7" fmla="*/ 59257 h 105906"/>
                <a:gd name="connsiteX8" fmla="*/ 19543 w 95821"/>
                <a:gd name="connsiteY8" fmla="*/ 59257 h 105906"/>
                <a:gd name="connsiteX9" fmla="*/ 28368 w 95821"/>
                <a:gd name="connsiteY9" fmla="*/ 81951 h 105906"/>
                <a:gd name="connsiteX10" fmla="*/ 48541 w 95821"/>
                <a:gd name="connsiteY10" fmla="*/ 89516 h 105906"/>
                <a:gd name="connsiteX11" fmla="*/ 73757 w 95821"/>
                <a:gd name="connsiteY11" fmla="*/ 72496 h 105906"/>
                <a:gd name="connsiteX12" fmla="*/ 93300 w 95821"/>
                <a:gd name="connsiteY12" fmla="*/ 72496 h 105906"/>
                <a:gd name="connsiteX13" fmla="*/ 77540 w 95821"/>
                <a:gd name="connsiteY13" fmla="*/ 97081 h 105906"/>
                <a:gd name="connsiteX14" fmla="*/ 48541 w 95821"/>
                <a:gd name="connsiteY14" fmla="*/ 105906 h 105906"/>
                <a:gd name="connsiteX15" fmla="*/ 13238 w 95821"/>
                <a:gd name="connsiteY15" fmla="*/ 91407 h 105906"/>
                <a:gd name="connsiteX16" fmla="*/ 0 w 95821"/>
                <a:gd name="connsiteY16" fmla="*/ 52953 h 105906"/>
                <a:gd name="connsiteX17" fmla="*/ 13238 w 95821"/>
                <a:gd name="connsiteY17" fmla="*/ 14499 h 105906"/>
                <a:gd name="connsiteX18" fmla="*/ 47911 w 95821"/>
                <a:gd name="connsiteY18" fmla="*/ 0 h 105906"/>
                <a:gd name="connsiteX19" fmla="*/ 83214 w 95821"/>
                <a:gd name="connsiteY19" fmla="*/ 15129 h 105906"/>
                <a:gd name="connsiteX20" fmla="*/ 95822 w 95821"/>
                <a:gd name="connsiteY20" fmla="*/ 53584 h 1059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95821" h="105906">
                  <a:moveTo>
                    <a:pt x="47911" y="16390"/>
                  </a:moveTo>
                  <a:cubicBezTo>
                    <a:pt x="40346" y="16390"/>
                    <a:pt x="34042" y="18912"/>
                    <a:pt x="28999" y="23325"/>
                  </a:cubicBezTo>
                  <a:cubicBezTo>
                    <a:pt x="23955" y="27737"/>
                    <a:pt x="20803" y="34672"/>
                    <a:pt x="20173" y="43497"/>
                  </a:cubicBezTo>
                  <a:lnTo>
                    <a:pt x="76279" y="43497"/>
                  </a:lnTo>
                  <a:cubicBezTo>
                    <a:pt x="75649" y="35302"/>
                    <a:pt x="72497" y="28368"/>
                    <a:pt x="67453" y="23325"/>
                  </a:cubicBezTo>
                  <a:cubicBezTo>
                    <a:pt x="61780" y="18912"/>
                    <a:pt x="55476" y="16390"/>
                    <a:pt x="47911" y="16390"/>
                  </a:cubicBezTo>
                  <a:moveTo>
                    <a:pt x="95822" y="53584"/>
                  </a:moveTo>
                  <a:lnTo>
                    <a:pt x="95822" y="59257"/>
                  </a:lnTo>
                  <a:lnTo>
                    <a:pt x="19543" y="59257"/>
                  </a:lnTo>
                  <a:cubicBezTo>
                    <a:pt x="20173" y="69344"/>
                    <a:pt x="23325" y="76908"/>
                    <a:pt x="28368" y="81951"/>
                  </a:cubicBezTo>
                  <a:cubicBezTo>
                    <a:pt x="33411" y="86995"/>
                    <a:pt x="40346" y="89516"/>
                    <a:pt x="48541" y="89516"/>
                  </a:cubicBezTo>
                  <a:cubicBezTo>
                    <a:pt x="61149" y="89516"/>
                    <a:pt x="69975" y="83843"/>
                    <a:pt x="73757" y="72496"/>
                  </a:cubicBezTo>
                  <a:lnTo>
                    <a:pt x="93300" y="72496"/>
                  </a:lnTo>
                  <a:cubicBezTo>
                    <a:pt x="90778" y="82582"/>
                    <a:pt x="85105" y="90777"/>
                    <a:pt x="77540" y="97081"/>
                  </a:cubicBezTo>
                  <a:cubicBezTo>
                    <a:pt x="69345" y="102754"/>
                    <a:pt x="59889" y="105906"/>
                    <a:pt x="48541" y="105906"/>
                  </a:cubicBezTo>
                  <a:cubicBezTo>
                    <a:pt x="34042" y="105906"/>
                    <a:pt x="22064" y="100863"/>
                    <a:pt x="13238" y="91407"/>
                  </a:cubicBezTo>
                  <a:cubicBezTo>
                    <a:pt x="4413" y="81951"/>
                    <a:pt x="0" y="68713"/>
                    <a:pt x="0" y="52953"/>
                  </a:cubicBezTo>
                  <a:cubicBezTo>
                    <a:pt x="0" y="37193"/>
                    <a:pt x="4413" y="23955"/>
                    <a:pt x="13238" y="14499"/>
                  </a:cubicBezTo>
                  <a:cubicBezTo>
                    <a:pt x="22064" y="5043"/>
                    <a:pt x="33411" y="0"/>
                    <a:pt x="47911" y="0"/>
                  </a:cubicBezTo>
                  <a:cubicBezTo>
                    <a:pt x="63041" y="0"/>
                    <a:pt x="74388" y="5043"/>
                    <a:pt x="83214" y="15129"/>
                  </a:cubicBezTo>
                  <a:cubicBezTo>
                    <a:pt x="91409" y="25216"/>
                    <a:pt x="95822" y="37824"/>
                    <a:pt x="95822" y="53584"/>
                  </a:cubicBezTo>
                </a:path>
              </a:pathLst>
            </a:custGeom>
            <a:solidFill>
              <a:srgbClr val="FFFFFF"/>
            </a:solidFill>
            <a:ln w="627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b-NO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B3930EDF-485F-4651-8960-9B73630A6503}"/>
                </a:ext>
              </a:extLst>
            </p:cNvPr>
            <p:cNvSpPr/>
            <p:nvPr/>
          </p:nvSpPr>
          <p:spPr>
            <a:xfrm>
              <a:off x="1741062" y="6402843"/>
              <a:ext cx="85735" cy="103384"/>
            </a:xfrm>
            <a:custGeom>
              <a:avLst/>
              <a:gdLst>
                <a:gd name="connsiteX0" fmla="*/ 50432 w 85735"/>
                <a:gd name="connsiteY0" fmla="*/ 0 h 103384"/>
                <a:gd name="connsiteX1" fmla="*/ 76279 w 85735"/>
                <a:gd name="connsiteY1" fmla="*/ 9456 h 103384"/>
                <a:gd name="connsiteX2" fmla="*/ 85735 w 85735"/>
                <a:gd name="connsiteY2" fmla="*/ 35933 h 103384"/>
                <a:gd name="connsiteX3" fmla="*/ 85735 w 85735"/>
                <a:gd name="connsiteY3" fmla="*/ 103385 h 103384"/>
                <a:gd name="connsiteX4" fmla="*/ 66193 w 85735"/>
                <a:gd name="connsiteY4" fmla="*/ 103385 h 103384"/>
                <a:gd name="connsiteX5" fmla="*/ 66193 w 85735"/>
                <a:gd name="connsiteY5" fmla="*/ 38454 h 103384"/>
                <a:gd name="connsiteX6" fmla="*/ 44759 w 85735"/>
                <a:gd name="connsiteY6" fmla="*/ 17021 h 103384"/>
                <a:gd name="connsiteX7" fmla="*/ 27107 w 85735"/>
                <a:gd name="connsiteY7" fmla="*/ 24585 h 103384"/>
                <a:gd name="connsiteX8" fmla="*/ 19543 w 85735"/>
                <a:gd name="connsiteY8" fmla="*/ 46019 h 103384"/>
                <a:gd name="connsiteX9" fmla="*/ 19543 w 85735"/>
                <a:gd name="connsiteY9" fmla="*/ 102754 h 103384"/>
                <a:gd name="connsiteX10" fmla="*/ 0 w 85735"/>
                <a:gd name="connsiteY10" fmla="*/ 102754 h 103384"/>
                <a:gd name="connsiteX11" fmla="*/ 0 w 85735"/>
                <a:gd name="connsiteY11" fmla="*/ 1891 h 103384"/>
                <a:gd name="connsiteX12" fmla="*/ 18912 w 85735"/>
                <a:gd name="connsiteY12" fmla="*/ 1891 h 103384"/>
                <a:gd name="connsiteX13" fmla="*/ 18912 w 85735"/>
                <a:gd name="connsiteY13" fmla="*/ 17651 h 103384"/>
                <a:gd name="connsiteX14" fmla="*/ 50432 w 85735"/>
                <a:gd name="connsiteY14" fmla="*/ 0 h 1033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85735" h="103384">
                  <a:moveTo>
                    <a:pt x="50432" y="0"/>
                  </a:moveTo>
                  <a:cubicBezTo>
                    <a:pt x="61780" y="0"/>
                    <a:pt x="69975" y="3152"/>
                    <a:pt x="76279" y="9456"/>
                  </a:cubicBezTo>
                  <a:cubicBezTo>
                    <a:pt x="82583" y="15760"/>
                    <a:pt x="85735" y="24585"/>
                    <a:pt x="85735" y="35933"/>
                  </a:cubicBezTo>
                  <a:lnTo>
                    <a:pt x="85735" y="103385"/>
                  </a:lnTo>
                  <a:lnTo>
                    <a:pt x="66193" y="103385"/>
                  </a:lnTo>
                  <a:lnTo>
                    <a:pt x="66193" y="38454"/>
                  </a:lnTo>
                  <a:cubicBezTo>
                    <a:pt x="66193" y="24585"/>
                    <a:pt x="59258" y="17021"/>
                    <a:pt x="44759" y="17021"/>
                  </a:cubicBezTo>
                  <a:cubicBezTo>
                    <a:pt x="38455" y="17021"/>
                    <a:pt x="32151" y="19542"/>
                    <a:pt x="27107" y="24585"/>
                  </a:cubicBezTo>
                  <a:cubicBezTo>
                    <a:pt x="22064" y="29629"/>
                    <a:pt x="19543" y="37193"/>
                    <a:pt x="19543" y="46019"/>
                  </a:cubicBezTo>
                  <a:lnTo>
                    <a:pt x="19543" y="102754"/>
                  </a:lnTo>
                  <a:lnTo>
                    <a:pt x="0" y="102754"/>
                  </a:lnTo>
                  <a:lnTo>
                    <a:pt x="0" y="1891"/>
                  </a:lnTo>
                  <a:lnTo>
                    <a:pt x="18912" y="1891"/>
                  </a:lnTo>
                  <a:lnTo>
                    <a:pt x="18912" y="17651"/>
                  </a:lnTo>
                  <a:cubicBezTo>
                    <a:pt x="26477" y="5674"/>
                    <a:pt x="37194" y="0"/>
                    <a:pt x="50432" y="0"/>
                  </a:cubicBezTo>
                </a:path>
              </a:pathLst>
            </a:custGeom>
            <a:solidFill>
              <a:srgbClr val="FFFFFF"/>
            </a:solidFill>
            <a:ln w="627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b-NO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5E0FC0E6-F788-47ED-B60A-6AC9EEAB68D2}"/>
                </a:ext>
              </a:extLst>
            </p:cNvPr>
            <p:cNvSpPr/>
            <p:nvPr/>
          </p:nvSpPr>
          <p:spPr>
            <a:xfrm>
              <a:off x="1844448" y="6402843"/>
              <a:ext cx="95821" cy="105906"/>
            </a:xfrm>
            <a:custGeom>
              <a:avLst/>
              <a:gdLst>
                <a:gd name="connsiteX0" fmla="*/ 47911 w 95821"/>
                <a:gd name="connsiteY0" fmla="*/ 16390 h 105906"/>
                <a:gd name="connsiteX1" fmla="*/ 28999 w 95821"/>
                <a:gd name="connsiteY1" fmla="*/ 23325 h 105906"/>
                <a:gd name="connsiteX2" fmla="*/ 20173 w 95821"/>
                <a:gd name="connsiteY2" fmla="*/ 43497 h 105906"/>
                <a:gd name="connsiteX3" fmla="*/ 76279 w 95821"/>
                <a:gd name="connsiteY3" fmla="*/ 43497 h 105906"/>
                <a:gd name="connsiteX4" fmla="*/ 67453 w 95821"/>
                <a:gd name="connsiteY4" fmla="*/ 23325 h 105906"/>
                <a:gd name="connsiteX5" fmla="*/ 47911 w 95821"/>
                <a:gd name="connsiteY5" fmla="*/ 16390 h 105906"/>
                <a:gd name="connsiteX6" fmla="*/ 95822 w 95821"/>
                <a:gd name="connsiteY6" fmla="*/ 53584 h 105906"/>
                <a:gd name="connsiteX7" fmla="*/ 95822 w 95821"/>
                <a:gd name="connsiteY7" fmla="*/ 59257 h 105906"/>
                <a:gd name="connsiteX8" fmla="*/ 19543 w 95821"/>
                <a:gd name="connsiteY8" fmla="*/ 59257 h 105906"/>
                <a:gd name="connsiteX9" fmla="*/ 28368 w 95821"/>
                <a:gd name="connsiteY9" fmla="*/ 81951 h 105906"/>
                <a:gd name="connsiteX10" fmla="*/ 48541 w 95821"/>
                <a:gd name="connsiteY10" fmla="*/ 89516 h 105906"/>
                <a:gd name="connsiteX11" fmla="*/ 73757 w 95821"/>
                <a:gd name="connsiteY11" fmla="*/ 72496 h 105906"/>
                <a:gd name="connsiteX12" fmla="*/ 93300 w 95821"/>
                <a:gd name="connsiteY12" fmla="*/ 72496 h 105906"/>
                <a:gd name="connsiteX13" fmla="*/ 77540 w 95821"/>
                <a:gd name="connsiteY13" fmla="*/ 97081 h 105906"/>
                <a:gd name="connsiteX14" fmla="*/ 48541 w 95821"/>
                <a:gd name="connsiteY14" fmla="*/ 105906 h 105906"/>
                <a:gd name="connsiteX15" fmla="*/ 13239 w 95821"/>
                <a:gd name="connsiteY15" fmla="*/ 91407 h 105906"/>
                <a:gd name="connsiteX16" fmla="*/ 0 w 95821"/>
                <a:gd name="connsiteY16" fmla="*/ 52953 h 105906"/>
                <a:gd name="connsiteX17" fmla="*/ 13239 w 95821"/>
                <a:gd name="connsiteY17" fmla="*/ 14499 h 105906"/>
                <a:gd name="connsiteX18" fmla="*/ 47911 w 95821"/>
                <a:gd name="connsiteY18" fmla="*/ 0 h 105906"/>
                <a:gd name="connsiteX19" fmla="*/ 83214 w 95821"/>
                <a:gd name="connsiteY19" fmla="*/ 15129 h 105906"/>
                <a:gd name="connsiteX20" fmla="*/ 95822 w 95821"/>
                <a:gd name="connsiteY20" fmla="*/ 53584 h 1059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95821" h="105906">
                  <a:moveTo>
                    <a:pt x="47911" y="16390"/>
                  </a:moveTo>
                  <a:cubicBezTo>
                    <a:pt x="40346" y="16390"/>
                    <a:pt x="34042" y="18912"/>
                    <a:pt x="28999" y="23325"/>
                  </a:cubicBezTo>
                  <a:cubicBezTo>
                    <a:pt x="23955" y="27737"/>
                    <a:pt x="20803" y="34672"/>
                    <a:pt x="20173" y="43497"/>
                  </a:cubicBezTo>
                  <a:lnTo>
                    <a:pt x="76279" y="43497"/>
                  </a:lnTo>
                  <a:cubicBezTo>
                    <a:pt x="75649" y="35302"/>
                    <a:pt x="72497" y="28368"/>
                    <a:pt x="67453" y="23325"/>
                  </a:cubicBezTo>
                  <a:cubicBezTo>
                    <a:pt x="61780" y="18912"/>
                    <a:pt x="55476" y="16390"/>
                    <a:pt x="47911" y="16390"/>
                  </a:cubicBezTo>
                  <a:moveTo>
                    <a:pt x="95822" y="53584"/>
                  </a:moveTo>
                  <a:lnTo>
                    <a:pt x="95822" y="59257"/>
                  </a:lnTo>
                  <a:lnTo>
                    <a:pt x="19543" y="59257"/>
                  </a:lnTo>
                  <a:cubicBezTo>
                    <a:pt x="20173" y="69344"/>
                    <a:pt x="23325" y="76908"/>
                    <a:pt x="28368" y="81951"/>
                  </a:cubicBezTo>
                  <a:cubicBezTo>
                    <a:pt x="33412" y="86995"/>
                    <a:pt x="40346" y="89516"/>
                    <a:pt x="48541" y="89516"/>
                  </a:cubicBezTo>
                  <a:cubicBezTo>
                    <a:pt x="61149" y="89516"/>
                    <a:pt x="69975" y="83843"/>
                    <a:pt x="73757" y="72496"/>
                  </a:cubicBezTo>
                  <a:lnTo>
                    <a:pt x="93300" y="72496"/>
                  </a:lnTo>
                  <a:cubicBezTo>
                    <a:pt x="90778" y="82582"/>
                    <a:pt x="85105" y="90777"/>
                    <a:pt x="77540" y="97081"/>
                  </a:cubicBezTo>
                  <a:cubicBezTo>
                    <a:pt x="69345" y="102754"/>
                    <a:pt x="59889" y="105906"/>
                    <a:pt x="48541" y="105906"/>
                  </a:cubicBezTo>
                  <a:cubicBezTo>
                    <a:pt x="34042" y="105906"/>
                    <a:pt x="22064" y="100863"/>
                    <a:pt x="13239" y="91407"/>
                  </a:cubicBezTo>
                  <a:cubicBezTo>
                    <a:pt x="4413" y="81951"/>
                    <a:pt x="0" y="68713"/>
                    <a:pt x="0" y="52953"/>
                  </a:cubicBezTo>
                  <a:cubicBezTo>
                    <a:pt x="0" y="37193"/>
                    <a:pt x="4413" y="23955"/>
                    <a:pt x="13239" y="14499"/>
                  </a:cubicBezTo>
                  <a:cubicBezTo>
                    <a:pt x="22064" y="5043"/>
                    <a:pt x="33412" y="0"/>
                    <a:pt x="47911" y="0"/>
                  </a:cubicBezTo>
                  <a:cubicBezTo>
                    <a:pt x="63041" y="0"/>
                    <a:pt x="74388" y="5043"/>
                    <a:pt x="83214" y="15129"/>
                  </a:cubicBezTo>
                  <a:cubicBezTo>
                    <a:pt x="91409" y="25216"/>
                    <a:pt x="95822" y="37824"/>
                    <a:pt x="95822" y="53584"/>
                  </a:cubicBezTo>
                </a:path>
              </a:pathLst>
            </a:custGeom>
            <a:solidFill>
              <a:srgbClr val="FFFFFF"/>
            </a:solidFill>
            <a:ln w="627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b-NO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DA4BB130-4E8D-4731-B978-3B26D2E9CBC6}"/>
                </a:ext>
              </a:extLst>
            </p:cNvPr>
            <p:cNvSpPr/>
            <p:nvPr/>
          </p:nvSpPr>
          <p:spPr>
            <a:xfrm>
              <a:off x="1944053" y="6376366"/>
              <a:ext cx="113472" cy="130491"/>
            </a:xfrm>
            <a:custGeom>
              <a:avLst/>
              <a:gdLst>
                <a:gd name="connsiteX0" fmla="*/ 112212 w 113472"/>
                <a:gd name="connsiteY0" fmla="*/ 44758 h 130491"/>
                <a:gd name="connsiteX1" fmla="*/ 112212 w 113472"/>
                <a:gd name="connsiteY1" fmla="*/ 28998 h 130491"/>
                <a:gd name="connsiteX2" fmla="*/ 92039 w 113472"/>
                <a:gd name="connsiteY2" fmla="*/ 28998 h 130491"/>
                <a:gd name="connsiteX3" fmla="*/ 92039 w 113472"/>
                <a:gd name="connsiteY3" fmla="*/ 0 h 130491"/>
                <a:gd name="connsiteX4" fmla="*/ 72497 w 113472"/>
                <a:gd name="connsiteY4" fmla="*/ 0 h 130491"/>
                <a:gd name="connsiteX5" fmla="*/ 72497 w 113472"/>
                <a:gd name="connsiteY5" fmla="*/ 28998 h 130491"/>
                <a:gd name="connsiteX6" fmla="*/ 56736 w 113472"/>
                <a:gd name="connsiteY6" fmla="*/ 28998 h 130491"/>
                <a:gd name="connsiteX7" fmla="*/ 56106 w 113472"/>
                <a:gd name="connsiteY7" fmla="*/ 28998 h 130491"/>
                <a:gd name="connsiteX8" fmla="*/ 35933 w 113472"/>
                <a:gd name="connsiteY8" fmla="*/ 28998 h 130491"/>
                <a:gd name="connsiteX9" fmla="*/ 35933 w 113472"/>
                <a:gd name="connsiteY9" fmla="*/ 0 h 130491"/>
                <a:gd name="connsiteX10" fmla="*/ 16390 w 113472"/>
                <a:gd name="connsiteY10" fmla="*/ 0 h 130491"/>
                <a:gd name="connsiteX11" fmla="*/ 16390 w 113472"/>
                <a:gd name="connsiteY11" fmla="*/ 28998 h 130491"/>
                <a:gd name="connsiteX12" fmla="*/ 0 w 113472"/>
                <a:gd name="connsiteY12" fmla="*/ 28998 h 130491"/>
                <a:gd name="connsiteX13" fmla="*/ 0 w 113472"/>
                <a:gd name="connsiteY13" fmla="*/ 44758 h 130491"/>
                <a:gd name="connsiteX14" fmla="*/ 16390 w 113472"/>
                <a:gd name="connsiteY14" fmla="*/ 44758 h 130491"/>
                <a:gd name="connsiteX15" fmla="*/ 16390 w 113472"/>
                <a:gd name="connsiteY15" fmla="*/ 107167 h 130491"/>
                <a:gd name="connsiteX16" fmla="*/ 23325 w 113472"/>
                <a:gd name="connsiteY16" fmla="*/ 124818 h 130491"/>
                <a:gd name="connsiteX17" fmla="*/ 44759 w 113472"/>
                <a:gd name="connsiteY17" fmla="*/ 130492 h 130491"/>
                <a:gd name="connsiteX18" fmla="*/ 56736 w 113472"/>
                <a:gd name="connsiteY18" fmla="*/ 129862 h 130491"/>
                <a:gd name="connsiteX19" fmla="*/ 56736 w 113472"/>
                <a:gd name="connsiteY19" fmla="*/ 114102 h 130491"/>
                <a:gd name="connsiteX20" fmla="*/ 47911 w 113472"/>
                <a:gd name="connsiteY20" fmla="*/ 114102 h 130491"/>
                <a:gd name="connsiteX21" fmla="*/ 39085 w 113472"/>
                <a:gd name="connsiteY21" fmla="*/ 112210 h 130491"/>
                <a:gd name="connsiteX22" fmla="*/ 36564 w 113472"/>
                <a:gd name="connsiteY22" fmla="*/ 105906 h 130491"/>
                <a:gd name="connsiteX23" fmla="*/ 36564 w 113472"/>
                <a:gd name="connsiteY23" fmla="*/ 44758 h 130491"/>
                <a:gd name="connsiteX24" fmla="*/ 56736 w 113472"/>
                <a:gd name="connsiteY24" fmla="*/ 44758 h 130491"/>
                <a:gd name="connsiteX25" fmla="*/ 57367 w 113472"/>
                <a:gd name="connsiteY25" fmla="*/ 44758 h 130491"/>
                <a:gd name="connsiteX26" fmla="*/ 73127 w 113472"/>
                <a:gd name="connsiteY26" fmla="*/ 44758 h 130491"/>
                <a:gd name="connsiteX27" fmla="*/ 73127 w 113472"/>
                <a:gd name="connsiteY27" fmla="*/ 107167 h 130491"/>
                <a:gd name="connsiteX28" fmla="*/ 80062 w 113472"/>
                <a:gd name="connsiteY28" fmla="*/ 124818 h 130491"/>
                <a:gd name="connsiteX29" fmla="*/ 101495 w 113472"/>
                <a:gd name="connsiteY29" fmla="*/ 130492 h 130491"/>
                <a:gd name="connsiteX30" fmla="*/ 113473 w 113472"/>
                <a:gd name="connsiteY30" fmla="*/ 129862 h 130491"/>
                <a:gd name="connsiteX31" fmla="*/ 113473 w 113472"/>
                <a:gd name="connsiteY31" fmla="*/ 114102 h 130491"/>
                <a:gd name="connsiteX32" fmla="*/ 104647 w 113472"/>
                <a:gd name="connsiteY32" fmla="*/ 114102 h 130491"/>
                <a:gd name="connsiteX33" fmla="*/ 95822 w 113472"/>
                <a:gd name="connsiteY33" fmla="*/ 112210 h 130491"/>
                <a:gd name="connsiteX34" fmla="*/ 93300 w 113472"/>
                <a:gd name="connsiteY34" fmla="*/ 105906 h 130491"/>
                <a:gd name="connsiteX35" fmla="*/ 93300 w 113472"/>
                <a:gd name="connsiteY35" fmla="*/ 44758 h 130491"/>
                <a:gd name="connsiteX36" fmla="*/ 112212 w 113472"/>
                <a:gd name="connsiteY36" fmla="*/ 44758 h 1304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113472" h="130491">
                  <a:moveTo>
                    <a:pt x="112212" y="44758"/>
                  </a:moveTo>
                  <a:lnTo>
                    <a:pt x="112212" y="28998"/>
                  </a:lnTo>
                  <a:lnTo>
                    <a:pt x="92039" y="28998"/>
                  </a:lnTo>
                  <a:lnTo>
                    <a:pt x="92039" y="0"/>
                  </a:lnTo>
                  <a:lnTo>
                    <a:pt x="72497" y="0"/>
                  </a:lnTo>
                  <a:lnTo>
                    <a:pt x="72497" y="28998"/>
                  </a:lnTo>
                  <a:lnTo>
                    <a:pt x="56736" y="28998"/>
                  </a:lnTo>
                  <a:lnTo>
                    <a:pt x="56106" y="28998"/>
                  </a:lnTo>
                  <a:lnTo>
                    <a:pt x="35933" y="28998"/>
                  </a:lnTo>
                  <a:lnTo>
                    <a:pt x="35933" y="0"/>
                  </a:lnTo>
                  <a:lnTo>
                    <a:pt x="16390" y="0"/>
                  </a:lnTo>
                  <a:lnTo>
                    <a:pt x="16390" y="28998"/>
                  </a:lnTo>
                  <a:lnTo>
                    <a:pt x="0" y="28998"/>
                  </a:lnTo>
                  <a:lnTo>
                    <a:pt x="0" y="44758"/>
                  </a:lnTo>
                  <a:lnTo>
                    <a:pt x="16390" y="44758"/>
                  </a:lnTo>
                  <a:lnTo>
                    <a:pt x="16390" y="107167"/>
                  </a:lnTo>
                  <a:cubicBezTo>
                    <a:pt x="16390" y="115362"/>
                    <a:pt x="18912" y="121036"/>
                    <a:pt x="23325" y="124818"/>
                  </a:cubicBezTo>
                  <a:cubicBezTo>
                    <a:pt x="27738" y="128601"/>
                    <a:pt x="34672" y="130492"/>
                    <a:pt x="44759" y="130492"/>
                  </a:cubicBezTo>
                  <a:cubicBezTo>
                    <a:pt x="48541" y="130492"/>
                    <a:pt x="52324" y="130492"/>
                    <a:pt x="56736" y="129862"/>
                  </a:cubicBezTo>
                  <a:lnTo>
                    <a:pt x="56736" y="114102"/>
                  </a:lnTo>
                  <a:lnTo>
                    <a:pt x="47911" y="114102"/>
                  </a:lnTo>
                  <a:cubicBezTo>
                    <a:pt x="43498" y="114102"/>
                    <a:pt x="40976" y="113471"/>
                    <a:pt x="39085" y="112210"/>
                  </a:cubicBezTo>
                  <a:cubicBezTo>
                    <a:pt x="37194" y="110950"/>
                    <a:pt x="36564" y="108428"/>
                    <a:pt x="36564" y="105906"/>
                  </a:cubicBezTo>
                  <a:lnTo>
                    <a:pt x="36564" y="44758"/>
                  </a:lnTo>
                  <a:lnTo>
                    <a:pt x="56736" y="44758"/>
                  </a:lnTo>
                  <a:lnTo>
                    <a:pt x="57367" y="44758"/>
                  </a:lnTo>
                  <a:lnTo>
                    <a:pt x="73127" y="44758"/>
                  </a:lnTo>
                  <a:lnTo>
                    <a:pt x="73127" y="107167"/>
                  </a:lnTo>
                  <a:cubicBezTo>
                    <a:pt x="73127" y="115362"/>
                    <a:pt x="75649" y="121036"/>
                    <a:pt x="80062" y="124818"/>
                  </a:cubicBezTo>
                  <a:cubicBezTo>
                    <a:pt x="84474" y="128601"/>
                    <a:pt x="91409" y="130492"/>
                    <a:pt x="101495" y="130492"/>
                  </a:cubicBezTo>
                  <a:cubicBezTo>
                    <a:pt x="105278" y="130492"/>
                    <a:pt x="109060" y="130492"/>
                    <a:pt x="113473" y="129862"/>
                  </a:cubicBezTo>
                  <a:lnTo>
                    <a:pt x="113473" y="114102"/>
                  </a:lnTo>
                  <a:lnTo>
                    <a:pt x="104647" y="114102"/>
                  </a:lnTo>
                  <a:cubicBezTo>
                    <a:pt x="100235" y="114102"/>
                    <a:pt x="97713" y="113471"/>
                    <a:pt x="95822" y="112210"/>
                  </a:cubicBezTo>
                  <a:cubicBezTo>
                    <a:pt x="93931" y="110950"/>
                    <a:pt x="93300" y="108428"/>
                    <a:pt x="93300" y="105906"/>
                  </a:cubicBezTo>
                  <a:lnTo>
                    <a:pt x="93300" y="44758"/>
                  </a:lnTo>
                  <a:lnTo>
                    <a:pt x="112212" y="44758"/>
                  </a:lnTo>
                  <a:close/>
                </a:path>
              </a:pathLst>
            </a:custGeom>
            <a:solidFill>
              <a:srgbClr val="FFFFFF"/>
            </a:solidFill>
            <a:ln w="627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b-NO"/>
            </a:p>
          </p:txBody>
        </p:sp>
      </p:grpSp>
    </p:spTree>
    <p:extLst>
      <p:ext uri="{BB962C8B-B14F-4D97-AF65-F5344CB8AC3E}">
        <p14:creationId xmlns:p14="http://schemas.microsoft.com/office/powerpoint/2010/main" val="32662181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B8F7A5D8-E6E3-469D-AFA8-C4EB8962C76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34963" y="1343637"/>
            <a:ext cx="11522075" cy="5180987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1248025" indent="-1248025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Tx/>
              <a:buFont typeface="+mj-lt"/>
              <a:buAutoNum type="arabicPeriod"/>
              <a:defRPr sz="5001" b="0" i="0" u="none" cap="none">
                <a:solidFill>
                  <a:schemeClr val="tx2"/>
                </a:solidFill>
                <a:latin typeface="+mn-lt"/>
              </a:defRPr>
            </a:lvl1pPr>
            <a:lvl2pPr marL="1704975" indent="-447675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4500" b="0" i="0" u="none" cap="none">
                <a:solidFill>
                  <a:schemeClr val="tx2"/>
                </a:solidFill>
                <a:latin typeface="+mn-lt"/>
              </a:defRPr>
            </a:lvl2pPr>
            <a:lvl3pPr marL="2152650" indent="-447675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4000" b="0" i="0" u="none" cap="none">
                <a:solidFill>
                  <a:schemeClr val="tx2"/>
                </a:solidFill>
                <a:latin typeface="+mn-lt"/>
              </a:defRPr>
            </a:lvl3pPr>
            <a:lvl4pPr marL="2514600" indent="-361950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3500" b="0" i="0" u="none" cap="none">
                <a:solidFill>
                  <a:schemeClr val="tx2"/>
                </a:solidFill>
                <a:latin typeface="+mn-lt"/>
              </a:defRPr>
            </a:lvl4pPr>
            <a:lvl5pPr marL="2867025" indent="-352425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3000" b="0" i="0" u="none" cap="none">
                <a:solidFill>
                  <a:schemeClr val="tx2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Tittel 6">
            <a:extLst>
              <a:ext uri="{FF2B5EF4-FFF2-40B4-BE49-F238E27FC236}">
                <a16:creationId xmlns:a16="http://schemas.microsoft.com/office/drawing/2014/main" id="{A5482343-1915-D341-B307-5AA1F67E3C2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4963" y="333377"/>
            <a:ext cx="11522075" cy="226800"/>
          </a:xfrm>
        </p:spPr>
        <p:txBody>
          <a:bodyPr lIns="36000" rIns="36000" anchor="t" anchorCtr="0"/>
          <a:lstStyle>
            <a:lvl1pPr>
              <a:lnSpc>
                <a:spcPct val="100000"/>
              </a:lnSpc>
              <a:defRPr sz="1500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nb-NO"/>
              <a:t>Klikk for å redigere tittelstil</a:t>
            </a:r>
          </a:p>
        </p:txBody>
      </p:sp>
    </p:spTree>
    <p:extLst>
      <p:ext uri="{BB962C8B-B14F-4D97-AF65-F5344CB8AC3E}">
        <p14:creationId xmlns:p14="http://schemas.microsoft.com/office/powerpoint/2010/main" val="39239733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masi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49222" y="1915515"/>
            <a:ext cx="7365587" cy="3596236"/>
          </a:xfrm>
        </p:spPr>
        <p:txBody>
          <a:bodyPr anchor="t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4B0B2E75-84F0-4E85-9B77-833285E056D5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2249222" y="1223456"/>
            <a:ext cx="7365587" cy="456265"/>
          </a:xfrm>
        </p:spPr>
        <p:txBody>
          <a:bodyPr lIns="36000" rIns="36000" anchor="b"/>
          <a:lstStyle>
            <a:lvl1pPr marL="0" indent="0" algn="l">
              <a:buNone/>
              <a:defRPr sz="1700">
                <a:solidFill>
                  <a:schemeClr val="accent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endParaRPr lang="en-US"/>
          </a:p>
        </p:txBody>
      </p:sp>
      <p:sp>
        <p:nvSpPr>
          <p:cNvPr id="4" name="Freeform: Shape 3">
            <a:extLst>
              <a:ext uri="{FF2B5EF4-FFF2-40B4-BE49-F238E27FC236}">
                <a16:creationId xmlns:a16="http://schemas.microsoft.com/office/drawing/2014/main" id="{8E980BDB-285D-4E70-A0C6-4C1D4AF5BE10}"/>
              </a:ext>
            </a:extLst>
          </p:cNvPr>
          <p:cNvSpPr/>
          <p:nvPr userDrawn="1"/>
        </p:nvSpPr>
        <p:spPr>
          <a:xfrm rot="5400000">
            <a:off x="10759167" y="5437591"/>
            <a:ext cx="1449387" cy="724683"/>
          </a:xfrm>
          <a:custGeom>
            <a:avLst/>
            <a:gdLst>
              <a:gd name="connsiteX0" fmla="*/ 761388 w 3045552"/>
              <a:gd name="connsiteY0" fmla="*/ 0 h 1522754"/>
              <a:gd name="connsiteX1" fmla="*/ 2284165 w 3045552"/>
              <a:gd name="connsiteY1" fmla="*/ 0 h 1522754"/>
              <a:gd name="connsiteX2" fmla="*/ 3045553 w 3045552"/>
              <a:gd name="connsiteY2" fmla="*/ 761377 h 1522754"/>
              <a:gd name="connsiteX3" fmla="*/ 2284165 w 3045552"/>
              <a:gd name="connsiteY3" fmla="*/ 1522754 h 1522754"/>
              <a:gd name="connsiteX4" fmla="*/ 761388 w 3045552"/>
              <a:gd name="connsiteY4" fmla="*/ 1522754 h 1522754"/>
              <a:gd name="connsiteX5" fmla="*/ 0 w 3045552"/>
              <a:gd name="connsiteY5" fmla="*/ 761377 h 1522754"/>
              <a:gd name="connsiteX6" fmla="*/ 761388 w 3045552"/>
              <a:gd name="connsiteY6" fmla="*/ 0 h 15227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045552" h="1522754">
                <a:moveTo>
                  <a:pt x="761388" y="0"/>
                </a:moveTo>
                <a:lnTo>
                  <a:pt x="2284165" y="0"/>
                </a:lnTo>
                <a:cubicBezTo>
                  <a:pt x="2704831" y="0"/>
                  <a:pt x="3045553" y="340716"/>
                  <a:pt x="3045553" y="761377"/>
                </a:cubicBezTo>
                <a:cubicBezTo>
                  <a:pt x="3045553" y="1182038"/>
                  <a:pt x="2704831" y="1522754"/>
                  <a:pt x="2284165" y="1522754"/>
                </a:cubicBezTo>
                <a:lnTo>
                  <a:pt x="761388" y="1522754"/>
                </a:lnTo>
                <a:cubicBezTo>
                  <a:pt x="340721" y="1522754"/>
                  <a:pt x="0" y="1182038"/>
                  <a:pt x="0" y="761377"/>
                </a:cubicBezTo>
                <a:cubicBezTo>
                  <a:pt x="0" y="340716"/>
                  <a:pt x="340721" y="0"/>
                  <a:pt x="761388" y="0"/>
                </a:cubicBezTo>
              </a:path>
            </a:pathLst>
          </a:custGeom>
          <a:solidFill>
            <a:srgbClr val="03A680"/>
          </a:solidFill>
          <a:ln w="6340" cap="flat">
            <a:noFill/>
            <a:prstDash val="solid"/>
            <a:miter/>
          </a:ln>
        </p:spPr>
        <p:txBody>
          <a:bodyPr rtlCol="0" anchor="ctr"/>
          <a:lstStyle/>
          <a:p>
            <a:endParaRPr lang="nb-NO"/>
          </a:p>
        </p:txBody>
      </p:sp>
      <p:sp>
        <p:nvSpPr>
          <p:cNvPr id="5" name="Freeform: Shape 4">
            <a:extLst>
              <a:ext uri="{FF2B5EF4-FFF2-40B4-BE49-F238E27FC236}">
                <a16:creationId xmlns:a16="http://schemas.microsoft.com/office/drawing/2014/main" id="{4C04E5D9-B8BE-4EB4-B26B-FE390532EBF0}"/>
              </a:ext>
            </a:extLst>
          </p:cNvPr>
          <p:cNvSpPr/>
          <p:nvPr userDrawn="1"/>
        </p:nvSpPr>
        <p:spPr>
          <a:xfrm rot="5400000">
            <a:off x="10396831" y="3625858"/>
            <a:ext cx="724693" cy="724683"/>
          </a:xfrm>
          <a:custGeom>
            <a:avLst/>
            <a:gdLst>
              <a:gd name="connsiteX0" fmla="*/ 761388 w 1522776"/>
              <a:gd name="connsiteY0" fmla="*/ 0 h 1522754"/>
              <a:gd name="connsiteX1" fmla="*/ 761388 w 1522776"/>
              <a:gd name="connsiteY1" fmla="*/ 0 h 1522754"/>
              <a:gd name="connsiteX2" fmla="*/ 0 w 1522776"/>
              <a:gd name="connsiteY2" fmla="*/ 761377 h 1522754"/>
              <a:gd name="connsiteX3" fmla="*/ 761388 w 1522776"/>
              <a:gd name="connsiteY3" fmla="*/ 1522754 h 1522754"/>
              <a:gd name="connsiteX4" fmla="*/ 1522776 w 1522776"/>
              <a:gd name="connsiteY4" fmla="*/ 761377 h 1522754"/>
              <a:gd name="connsiteX5" fmla="*/ 761388 w 1522776"/>
              <a:gd name="connsiteY5" fmla="*/ 0 h 15227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522776" h="1522754">
                <a:moveTo>
                  <a:pt x="761388" y="0"/>
                </a:moveTo>
                <a:lnTo>
                  <a:pt x="761388" y="0"/>
                </a:lnTo>
                <a:cubicBezTo>
                  <a:pt x="340721" y="0"/>
                  <a:pt x="0" y="340716"/>
                  <a:pt x="0" y="761377"/>
                </a:cubicBezTo>
                <a:cubicBezTo>
                  <a:pt x="0" y="1182038"/>
                  <a:pt x="340721" y="1522754"/>
                  <a:pt x="761388" y="1522754"/>
                </a:cubicBezTo>
                <a:cubicBezTo>
                  <a:pt x="1182055" y="1522754"/>
                  <a:pt x="1522776" y="1182038"/>
                  <a:pt x="1522776" y="761377"/>
                </a:cubicBezTo>
                <a:cubicBezTo>
                  <a:pt x="1522776" y="340716"/>
                  <a:pt x="1182055" y="0"/>
                  <a:pt x="761388" y="0"/>
                </a:cubicBezTo>
              </a:path>
            </a:pathLst>
          </a:custGeom>
          <a:solidFill>
            <a:srgbClr val="7AF0B2"/>
          </a:solidFill>
          <a:ln w="6340" cap="flat">
            <a:noFill/>
            <a:prstDash val="solid"/>
            <a:miter/>
          </a:ln>
        </p:spPr>
        <p:txBody>
          <a:bodyPr rtlCol="0" anchor="ctr"/>
          <a:lstStyle/>
          <a:p>
            <a:endParaRPr lang="nb-NO"/>
          </a:p>
        </p:txBody>
      </p:sp>
      <p:sp>
        <p:nvSpPr>
          <p:cNvPr id="6" name="Freeform: Shape 5">
            <a:extLst>
              <a:ext uri="{FF2B5EF4-FFF2-40B4-BE49-F238E27FC236}">
                <a16:creationId xmlns:a16="http://schemas.microsoft.com/office/drawing/2014/main" id="{FEC0CBE6-2887-4F01-8CA1-9973129602FC}"/>
              </a:ext>
            </a:extLst>
          </p:cNvPr>
          <p:cNvSpPr/>
          <p:nvPr userDrawn="1"/>
        </p:nvSpPr>
        <p:spPr>
          <a:xfrm rot="5400000">
            <a:off x="10396831" y="5075244"/>
            <a:ext cx="724693" cy="724683"/>
          </a:xfrm>
          <a:custGeom>
            <a:avLst/>
            <a:gdLst>
              <a:gd name="connsiteX0" fmla="*/ 761388 w 1522776"/>
              <a:gd name="connsiteY0" fmla="*/ 0 h 1522754"/>
              <a:gd name="connsiteX1" fmla="*/ 761388 w 1522776"/>
              <a:gd name="connsiteY1" fmla="*/ 0 h 1522754"/>
              <a:gd name="connsiteX2" fmla="*/ 0 w 1522776"/>
              <a:gd name="connsiteY2" fmla="*/ 761377 h 1522754"/>
              <a:gd name="connsiteX3" fmla="*/ 761388 w 1522776"/>
              <a:gd name="connsiteY3" fmla="*/ 1522754 h 1522754"/>
              <a:gd name="connsiteX4" fmla="*/ 1522776 w 1522776"/>
              <a:gd name="connsiteY4" fmla="*/ 761377 h 1522754"/>
              <a:gd name="connsiteX5" fmla="*/ 761388 w 1522776"/>
              <a:gd name="connsiteY5" fmla="*/ 0 h 15227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522776" h="1522754">
                <a:moveTo>
                  <a:pt x="761388" y="0"/>
                </a:moveTo>
                <a:lnTo>
                  <a:pt x="761388" y="0"/>
                </a:lnTo>
                <a:cubicBezTo>
                  <a:pt x="340721" y="0"/>
                  <a:pt x="0" y="340716"/>
                  <a:pt x="0" y="761377"/>
                </a:cubicBezTo>
                <a:cubicBezTo>
                  <a:pt x="0" y="1182038"/>
                  <a:pt x="340721" y="1522754"/>
                  <a:pt x="761388" y="1522754"/>
                </a:cubicBezTo>
                <a:cubicBezTo>
                  <a:pt x="1182055" y="1522754"/>
                  <a:pt x="1522776" y="1182038"/>
                  <a:pt x="1522776" y="761377"/>
                </a:cubicBezTo>
                <a:cubicBezTo>
                  <a:pt x="1522776" y="340716"/>
                  <a:pt x="1182055" y="0"/>
                  <a:pt x="761388" y="0"/>
                </a:cubicBezTo>
              </a:path>
            </a:pathLst>
          </a:custGeom>
          <a:solidFill>
            <a:srgbClr val="C4F2D9"/>
          </a:solidFill>
          <a:ln w="6340" cap="flat">
            <a:noFill/>
            <a:prstDash val="solid"/>
            <a:miter/>
          </a:ln>
        </p:spPr>
        <p:txBody>
          <a:bodyPr rtlCol="0" anchor="ctr"/>
          <a:lstStyle/>
          <a:p>
            <a:endParaRPr lang="nb-NO"/>
          </a:p>
        </p:txBody>
      </p:sp>
      <p:sp>
        <p:nvSpPr>
          <p:cNvPr id="7" name="Freeform: Shape 6">
            <a:extLst>
              <a:ext uri="{FF2B5EF4-FFF2-40B4-BE49-F238E27FC236}">
                <a16:creationId xmlns:a16="http://schemas.microsoft.com/office/drawing/2014/main" id="{28B856E4-148F-4869-8577-15B85BD8FE4D}"/>
              </a:ext>
            </a:extLst>
          </p:cNvPr>
          <p:cNvSpPr/>
          <p:nvPr userDrawn="1"/>
        </p:nvSpPr>
        <p:spPr>
          <a:xfrm rot="5400000">
            <a:off x="9672149" y="5075245"/>
            <a:ext cx="724693" cy="724683"/>
          </a:xfrm>
          <a:custGeom>
            <a:avLst/>
            <a:gdLst>
              <a:gd name="connsiteX0" fmla="*/ 0 w 1522776"/>
              <a:gd name="connsiteY0" fmla="*/ 0 h 1522754"/>
              <a:gd name="connsiteX1" fmla="*/ 1522776 w 1522776"/>
              <a:gd name="connsiteY1" fmla="*/ 0 h 1522754"/>
              <a:gd name="connsiteX2" fmla="*/ 1522776 w 1522776"/>
              <a:gd name="connsiteY2" fmla="*/ 1522754 h 1522754"/>
              <a:gd name="connsiteX3" fmla="*/ 0 w 1522776"/>
              <a:gd name="connsiteY3" fmla="*/ 1522754 h 15227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22776" h="1522754">
                <a:moveTo>
                  <a:pt x="0" y="0"/>
                </a:moveTo>
                <a:lnTo>
                  <a:pt x="1522776" y="0"/>
                </a:lnTo>
                <a:lnTo>
                  <a:pt x="1522776" y="1522754"/>
                </a:lnTo>
                <a:lnTo>
                  <a:pt x="0" y="1522754"/>
                </a:lnTo>
                <a:close/>
              </a:path>
            </a:pathLst>
          </a:custGeom>
          <a:solidFill>
            <a:srgbClr val="388070"/>
          </a:solidFill>
          <a:ln w="6340" cap="flat">
            <a:noFill/>
            <a:prstDash val="solid"/>
            <a:miter/>
          </a:ln>
        </p:spPr>
        <p:txBody>
          <a:bodyPr rtlCol="0" anchor="ctr"/>
          <a:lstStyle/>
          <a:p>
            <a:endParaRPr lang="nb-NO"/>
          </a:p>
        </p:txBody>
      </p:sp>
      <p:sp>
        <p:nvSpPr>
          <p:cNvPr id="8" name="Freeform: Shape 7">
            <a:extLst>
              <a:ext uri="{FF2B5EF4-FFF2-40B4-BE49-F238E27FC236}">
                <a16:creationId xmlns:a16="http://schemas.microsoft.com/office/drawing/2014/main" id="{D6803746-AB8A-41EC-9A1A-68EAA04DA473}"/>
              </a:ext>
            </a:extLst>
          </p:cNvPr>
          <p:cNvSpPr/>
          <p:nvPr userDrawn="1"/>
        </p:nvSpPr>
        <p:spPr>
          <a:xfrm rot="5400000">
            <a:off x="11121514" y="3625858"/>
            <a:ext cx="724693" cy="724683"/>
          </a:xfrm>
          <a:custGeom>
            <a:avLst/>
            <a:gdLst>
              <a:gd name="connsiteX0" fmla="*/ 0 w 1522776"/>
              <a:gd name="connsiteY0" fmla="*/ 0 h 1522754"/>
              <a:gd name="connsiteX1" fmla="*/ 1522776 w 1522776"/>
              <a:gd name="connsiteY1" fmla="*/ 0 h 1522754"/>
              <a:gd name="connsiteX2" fmla="*/ 1522776 w 1522776"/>
              <a:gd name="connsiteY2" fmla="*/ 1522754 h 1522754"/>
              <a:gd name="connsiteX3" fmla="*/ 0 w 1522776"/>
              <a:gd name="connsiteY3" fmla="*/ 1522754 h 15227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22776" h="1522754">
                <a:moveTo>
                  <a:pt x="0" y="0"/>
                </a:moveTo>
                <a:lnTo>
                  <a:pt x="1522776" y="0"/>
                </a:lnTo>
                <a:lnTo>
                  <a:pt x="1522776" y="1522754"/>
                </a:lnTo>
                <a:lnTo>
                  <a:pt x="0" y="1522754"/>
                </a:lnTo>
                <a:close/>
              </a:path>
            </a:pathLst>
          </a:custGeom>
          <a:solidFill>
            <a:srgbClr val="388070"/>
          </a:solidFill>
          <a:ln w="6340" cap="flat">
            <a:noFill/>
            <a:prstDash val="solid"/>
            <a:miter/>
          </a:ln>
        </p:spPr>
        <p:txBody>
          <a:bodyPr rtlCol="0" anchor="ctr"/>
          <a:lstStyle/>
          <a:p>
            <a:endParaRPr lang="nb-NO"/>
          </a:p>
        </p:txBody>
      </p:sp>
      <p:sp>
        <p:nvSpPr>
          <p:cNvPr id="9" name="Freeform: Shape 8">
            <a:extLst>
              <a:ext uri="{FF2B5EF4-FFF2-40B4-BE49-F238E27FC236}">
                <a16:creationId xmlns:a16="http://schemas.microsoft.com/office/drawing/2014/main" id="{12F42EEA-B370-4097-AC96-AA8A1364DC57}"/>
              </a:ext>
            </a:extLst>
          </p:cNvPr>
          <p:cNvSpPr/>
          <p:nvPr userDrawn="1"/>
        </p:nvSpPr>
        <p:spPr>
          <a:xfrm rot="5400000">
            <a:off x="9672149" y="5799938"/>
            <a:ext cx="724693" cy="724683"/>
          </a:xfrm>
          <a:custGeom>
            <a:avLst/>
            <a:gdLst>
              <a:gd name="connsiteX0" fmla="*/ 761388 w 1522776"/>
              <a:gd name="connsiteY0" fmla="*/ 0 h 1522754"/>
              <a:gd name="connsiteX1" fmla="*/ 761388 w 1522776"/>
              <a:gd name="connsiteY1" fmla="*/ 0 h 1522754"/>
              <a:gd name="connsiteX2" fmla="*/ 0 w 1522776"/>
              <a:gd name="connsiteY2" fmla="*/ 761377 h 1522754"/>
              <a:gd name="connsiteX3" fmla="*/ 761388 w 1522776"/>
              <a:gd name="connsiteY3" fmla="*/ 1522754 h 1522754"/>
              <a:gd name="connsiteX4" fmla="*/ 1522776 w 1522776"/>
              <a:gd name="connsiteY4" fmla="*/ 761377 h 1522754"/>
              <a:gd name="connsiteX5" fmla="*/ 761388 w 1522776"/>
              <a:gd name="connsiteY5" fmla="*/ 0 h 15227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522776" h="1522754">
                <a:moveTo>
                  <a:pt x="761388" y="0"/>
                </a:moveTo>
                <a:lnTo>
                  <a:pt x="761388" y="0"/>
                </a:lnTo>
                <a:cubicBezTo>
                  <a:pt x="340721" y="0"/>
                  <a:pt x="0" y="340716"/>
                  <a:pt x="0" y="761377"/>
                </a:cubicBezTo>
                <a:cubicBezTo>
                  <a:pt x="0" y="1182038"/>
                  <a:pt x="340721" y="1522754"/>
                  <a:pt x="761388" y="1522754"/>
                </a:cubicBezTo>
                <a:cubicBezTo>
                  <a:pt x="1182055" y="1522754"/>
                  <a:pt x="1522776" y="1182038"/>
                  <a:pt x="1522776" y="761377"/>
                </a:cubicBezTo>
                <a:cubicBezTo>
                  <a:pt x="1522776" y="340716"/>
                  <a:pt x="1182055" y="0"/>
                  <a:pt x="761388" y="0"/>
                </a:cubicBezTo>
              </a:path>
            </a:pathLst>
          </a:custGeom>
          <a:solidFill>
            <a:srgbClr val="03A680"/>
          </a:solidFill>
          <a:ln w="6340" cap="flat">
            <a:noFill/>
            <a:prstDash val="solid"/>
            <a:miter/>
          </a:ln>
        </p:spPr>
        <p:txBody>
          <a:bodyPr rtlCol="0" anchor="ctr"/>
          <a:lstStyle/>
          <a:p>
            <a:endParaRPr lang="nb-NO"/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5B1AD557-3E86-4BC2-B633-C074E185AF3F}"/>
              </a:ext>
            </a:extLst>
          </p:cNvPr>
          <p:cNvSpPr/>
          <p:nvPr userDrawn="1"/>
        </p:nvSpPr>
        <p:spPr>
          <a:xfrm rot="5400000">
            <a:off x="8947466" y="5075245"/>
            <a:ext cx="724693" cy="724683"/>
          </a:xfrm>
          <a:custGeom>
            <a:avLst/>
            <a:gdLst>
              <a:gd name="connsiteX0" fmla="*/ 761388 w 1522776"/>
              <a:gd name="connsiteY0" fmla="*/ 0 h 1522754"/>
              <a:gd name="connsiteX1" fmla="*/ 761388 w 1522776"/>
              <a:gd name="connsiteY1" fmla="*/ 0 h 1522754"/>
              <a:gd name="connsiteX2" fmla="*/ 0 w 1522776"/>
              <a:gd name="connsiteY2" fmla="*/ 761377 h 1522754"/>
              <a:gd name="connsiteX3" fmla="*/ 761388 w 1522776"/>
              <a:gd name="connsiteY3" fmla="*/ 1522754 h 1522754"/>
              <a:gd name="connsiteX4" fmla="*/ 1522776 w 1522776"/>
              <a:gd name="connsiteY4" fmla="*/ 761377 h 1522754"/>
              <a:gd name="connsiteX5" fmla="*/ 761388 w 1522776"/>
              <a:gd name="connsiteY5" fmla="*/ 0 h 15227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522776" h="1522754">
                <a:moveTo>
                  <a:pt x="761388" y="0"/>
                </a:moveTo>
                <a:lnTo>
                  <a:pt x="761388" y="0"/>
                </a:lnTo>
                <a:cubicBezTo>
                  <a:pt x="340721" y="0"/>
                  <a:pt x="0" y="340716"/>
                  <a:pt x="0" y="761377"/>
                </a:cubicBezTo>
                <a:cubicBezTo>
                  <a:pt x="0" y="1182038"/>
                  <a:pt x="340721" y="1522754"/>
                  <a:pt x="761388" y="1522754"/>
                </a:cubicBezTo>
                <a:cubicBezTo>
                  <a:pt x="1182055" y="1522754"/>
                  <a:pt x="1522776" y="1182038"/>
                  <a:pt x="1522776" y="761377"/>
                </a:cubicBezTo>
                <a:cubicBezTo>
                  <a:pt x="1522776" y="340716"/>
                  <a:pt x="1182055" y="0"/>
                  <a:pt x="761388" y="0"/>
                </a:cubicBezTo>
              </a:path>
            </a:pathLst>
          </a:custGeom>
          <a:solidFill>
            <a:srgbClr val="03A680"/>
          </a:solidFill>
          <a:ln w="6340" cap="flat">
            <a:noFill/>
            <a:prstDash val="solid"/>
            <a:miter/>
          </a:ln>
        </p:spPr>
        <p:txBody>
          <a:bodyPr rtlCol="0" anchor="ctr"/>
          <a:lstStyle/>
          <a:p>
            <a:endParaRPr lang="nb-NO"/>
          </a:p>
        </p:txBody>
      </p:sp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EF452FCC-6222-4C0C-B42B-440984EDBC5E}"/>
              </a:ext>
            </a:extLst>
          </p:cNvPr>
          <p:cNvSpPr/>
          <p:nvPr userDrawn="1"/>
        </p:nvSpPr>
        <p:spPr>
          <a:xfrm rot="5400000">
            <a:off x="10759173" y="3988210"/>
            <a:ext cx="724693" cy="1449366"/>
          </a:xfrm>
          <a:custGeom>
            <a:avLst/>
            <a:gdLst>
              <a:gd name="connsiteX0" fmla="*/ 761388 w 1522776"/>
              <a:gd name="connsiteY0" fmla="*/ 0 h 3045508"/>
              <a:gd name="connsiteX1" fmla="*/ 761388 w 1522776"/>
              <a:gd name="connsiteY1" fmla="*/ 0 h 3045508"/>
              <a:gd name="connsiteX2" fmla="*/ 0 w 1522776"/>
              <a:gd name="connsiteY2" fmla="*/ 761377 h 3045508"/>
              <a:gd name="connsiteX3" fmla="*/ 0 w 1522776"/>
              <a:gd name="connsiteY3" fmla="*/ 2284132 h 3045508"/>
              <a:gd name="connsiteX4" fmla="*/ 761388 w 1522776"/>
              <a:gd name="connsiteY4" fmla="*/ 3045509 h 3045508"/>
              <a:gd name="connsiteX5" fmla="*/ 1522776 w 1522776"/>
              <a:gd name="connsiteY5" fmla="*/ 2284132 h 3045508"/>
              <a:gd name="connsiteX6" fmla="*/ 1522776 w 1522776"/>
              <a:gd name="connsiteY6" fmla="*/ 761377 h 3045508"/>
              <a:gd name="connsiteX7" fmla="*/ 761388 w 1522776"/>
              <a:gd name="connsiteY7" fmla="*/ 0 h 30455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522776" h="3045508">
                <a:moveTo>
                  <a:pt x="761388" y="0"/>
                </a:moveTo>
                <a:lnTo>
                  <a:pt x="761388" y="0"/>
                </a:lnTo>
                <a:cubicBezTo>
                  <a:pt x="340721" y="0"/>
                  <a:pt x="0" y="340716"/>
                  <a:pt x="0" y="761377"/>
                </a:cubicBezTo>
                <a:lnTo>
                  <a:pt x="0" y="2284132"/>
                </a:lnTo>
                <a:cubicBezTo>
                  <a:pt x="0" y="2704792"/>
                  <a:pt x="340721" y="3045509"/>
                  <a:pt x="761388" y="3045509"/>
                </a:cubicBezTo>
                <a:cubicBezTo>
                  <a:pt x="1182055" y="3045509"/>
                  <a:pt x="1522776" y="2704792"/>
                  <a:pt x="1522776" y="2284132"/>
                </a:cubicBezTo>
                <a:lnTo>
                  <a:pt x="1522776" y="761377"/>
                </a:lnTo>
                <a:cubicBezTo>
                  <a:pt x="1522776" y="340716"/>
                  <a:pt x="1182055" y="0"/>
                  <a:pt x="761388" y="0"/>
                </a:cubicBezTo>
              </a:path>
            </a:pathLst>
          </a:custGeom>
          <a:solidFill>
            <a:srgbClr val="7AF0B2"/>
          </a:solidFill>
          <a:ln w="6340" cap="flat">
            <a:noFill/>
            <a:prstDash val="solid"/>
            <a:miter/>
          </a:ln>
        </p:spPr>
        <p:txBody>
          <a:bodyPr rtlCol="0" anchor="ctr"/>
          <a:lstStyle/>
          <a:p>
            <a:endParaRPr lang="nb-NO"/>
          </a:p>
        </p:txBody>
      </p:sp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658BD899-3085-4CE3-BC4E-2F03978AA82A}"/>
              </a:ext>
            </a:extLst>
          </p:cNvPr>
          <p:cNvSpPr/>
          <p:nvPr userDrawn="1"/>
        </p:nvSpPr>
        <p:spPr>
          <a:xfrm rot="5400000">
            <a:off x="10034490" y="3988210"/>
            <a:ext cx="724693" cy="1449366"/>
          </a:xfrm>
          <a:custGeom>
            <a:avLst/>
            <a:gdLst>
              <a:gd name="connsiteX0" fmla="*/ 761388 w 1522776"/>
              <a:gd name="connsiteY0" fmla="*/ 0 h 3045508"/>
              <a:gd name="connsiteX1" fmla="*/ 761388 w 1522776"/>
              <a:gd name="connsiteY1" fmla="*/ 0 h 3045508"/>
              <a:gd name="connsiteX2" fmla="*/ 0 w 1522776"/>
              <a:gd name="connsiteY2" fmla="*/ 761377 h 3045508"/>
              <a:gd name="connsiteX3" fmla="*/ 0 w 1522776"/>
              <a:gd name="connsiteY3" fmla="*/ 2284132 h 3045508"/>
              <a:gd name="connsiteX4" fmla="*/ 761388 w 1522776"/>
              <a:gd name="connsiteY4" fmla="*/ 3045509 h 3045508"/>
              <a:gd name="connsiteX5" fmla="*/ 1522776 w 1522776"/>
              <a:gd name="connsiteY5" fmla="*/ 2284132 h 3045508"/>
              <a:gd name="connsiteX6" fmla="*/ 1522776 w 1522776"/>
              <a:gd name="connsiteY6" fmla="*/ 761377 h 3045508"/>
              <a:gd name="connsiteX7" fmla="*/ 761388 w 1522776"/>
              <a:gd name="connsiteY7" fmla="*/ 0 h 30455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522776" h="3045508">
                <a:moveTo>
                  <a:pt x="761388" y="0"/>
                </a:moveTo>
                <a:lnTo>
                  <a:pt x="761388" y="0"/>
                </a:lnTo>
                <a:cubicBezTo>
                  <a:pt x="340721" y="0"/>
                  <a:pt x="0" y="340716"/>
                  <a:pt x="0" y="761377"/>
                </a:cubicBezTo>
                <a:lnTo>
                  <a:pt x="0" y="2284132"/>
                </a:lnTo>
                <a:cubicBezTo>
                  <a:pt x="0" y="2704792"/>
                  <a:pt x="340721" y="3045509"/>
                  <a:pt x="761388" y="3045509"/>
                </a:cubicBezTo>
                <a:cubicBezTo>
                  <a:pt x="1182055" y="3045509"/>
                  <a:pt x="1522776" y="2704792"/>
                  <a:pt x="1522776" y="2284132"/>
                </a:cubicBezTo>
                <a:lnTo>
                  <a:pt x="1522776" y="761377"/>
                </a:lnTo>
                <a:cubicBezTo>
                  <a:pt x="1522776" y="340716"/>
                  <a:pt x="1182055" y="0"/>
                  <a:pt x="761388" y="0"/>
                </a:cubicBezTo>
              </a:path>
            </a:pathLst>
          </a:custGeom>
          <a:solidFill>
            <a:srgbClr val="03A680"/>
          </a:solidFill>
          <a:ln w="6340" cap="flat">
            <a:noFill/>
            <a:prstDash val="solid"/>
            <a:miter/>
          </a:ln>
        </p:spPr>
        <p:txBody>
          <a:bodyPr rtlCol="0" anchor="ctr"/>
          <a:lstStyle/>
          <a:p>
            <a:endParaRPr lang="nb-NO"/>
          </a:p>
        </p:txBody>
      </p:sp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353A4DED-F339-41A8-852D-7F8392F9A348}"/>
              </a:ext>
            </a:extLst>
          </p:cNvPr>
          <p:cNvSpPr/>
          <p:nvPr userDrawn="1"/>
        </p:nvSpPr>
        <p:spPr>
          <a:xfrm rot="5400000">
            <a:off x="10396831" y="4350552"/>
            <a:ext cx="724693" cy="724683"/>
          </a:xfrm>
          <a:custGeom>
            <a:avLst/>
            <a:gdLst>
              <a:gd name="connsiteX0" fmla="*/ 761388 w 1522776"/>
              <a:gd name="connsiteY0" fmla="*/ 0 h 1522754"/>
              <a:gd name="connsiteX1" fmla="*/ 761388 w 1522776"/>
              <a:gd name="connsiteY1" fmla="*/ 0 h 1522754"/>
              <a:gd name="connsiteX2" fmla="*/ 0 w 1522776"/>
              <a:gd name="connsiteY2" fmla="*/ 761377 h 1522754"/>
              <a:gd name="connsiteX3" fmla="*/ 761388 w 1522776"/>
              <a:gd name="connsiteY3" fmla="*/ 1522754 h 1522754"/>
              <a:gd name="connsiteX4" fmla="*/ 1522776 w 1522776"/>
              <a:gd name="connsiteY4" fmla="*/ 761377 h 1522754"/>
              <a:gd name="connsiteX5" fmla="*/ 761388 w 1522776"/>
              <a:gd name="connsiteY5" fmla="*/ 0 h 15227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522776" h="1522754">
                <a:moveTo>
                  <a:pt x="761388" y="0"/>
                </a:moveTo>
                <a:lnTo>
                  <a:pt x="761388" y="0"/>
                </a:lnTo>
                <a:cubicBezTo>
                  <a:pt x="340721" y="0"/>
                  <a:pt x="0" y="340716"/>
                  <a:pt x="0" y="761377"/>
                </a:cubicBezTo>
                <a:cubicBezTo>
                  <a:pt x="0" y="1182038"/>
                  <a:pt x="340721" y="1522754"/>
                  <a:pt x="761388" y="1522754"/>
                </a:cubicBezTo>
                <a:cubicBezTo>
                  <a:pt x="1182055" y="1522754"/>
                  <a:pt x="1522776" y="1182038"/>
                  <a:pt x="1522776" y="761377"/>
                </a:cubicBezTo>
                <a:cubicBezTo>
                  <a:pt x="1522776" y="340716"/>
                  <a:pt x="1182055" y="0"/>
                  <a:pt x="761388" y="0"/>
                </a:cubicBezTo>
              </a:path>
            </a:pathLst>
          </a:custGeom>
          <a:solidFill>
            <a:srgbClr val="C4F2D9"/>
          </a:solidFill>
          <a:ln w="6340" cap="flat">
            <a:noFill/>
            <a:prstDash val="solid"/>
            <a:miter/>
          </a:ln>
        </p:spPr>
        <p:txBody>
          <a:bodyPr rtlCol="0" anchor="ctr"/>
          <a:lstStyle/>
          <a:p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1160690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334964" y="2548966"/>
            <a:ext cx="11522074" cy="226800"/>
          </a:xfrm>
        </p:spPr>
        <p:txBody>
          <a:bodyPr lIns="36000" rIns="36000"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500">
                <a:solidFill>
                  <a:schemeClr val="accent1"/>
                </a:solidFill>
                <a:latin typeface="+mj-lt"/>
              </a:defRPr>
            </a:lvl1pPr>
            <a:lvl2pPr marL="457223" indent="0">
              <a:buNone/>
              <a:defRPr sz="1400"/>
            </a:lvl2pPr>
            <a:lvl3pPr marL="914446" indent="0">
              <a:buNone/>
              <a:defRPr sz="1200"/>
            </a:lvl3pPr>
            <a:lvl4pPr marL="1371669" indent="0">
              <a:buNone/>
              <a:defRPr sz="1000"/>
            </a:lvl4pPr>
            <a:lvl5pPr marL="1828891" indent="0">
              <a:buNone/>
              <a:defRPr sz="1000"/>
            </a:lvl5pPr>
            <a:lvl6pPr marL="2286114" indent="0">
              <a:buNone/>
              <a:defRPr sz="1000"/>
            </a:lvl6pPr>
            <a:lvl7pPr marL="2743337" indent="0">
              <a:buNone/>
              <a:defRPr sz="1000"/>
            </a:lvl7pPr>
            <a:lvl8pPr marL="3200560" indent="0">
              <a:buNone/>
              <a:defRPr sz="1000"/>
            </a:lvl8pPr>
            <a:lvl9pPr marL="3657783" indent="0">
              <a:buNone/>
              <a:defRPr sz="1000"/>
            </a:lvl9pPr>
          </a:lstStyle>
          <a:p>
            <a:pPr lvl="0"/>
            <a:endParaRPr lang="en-US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469BFE2F-70F0-4909-A7A4-165FFC422E8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34964" y="2914922"/>
            <a:ext cx="11522074" cy="3609704"/>
          </a:xfrm>
          <a:prstGeom prst="rect">
            <a:avLst/>
          </a:prstGeom>
        </p:spPr>
        <p:txBody>
          <a:bodyPr lIns="36000" tIns="0" rIns="0" bIns="0" numCol="1" spcCol="1080000"/>
          <a:lstStyle>
            <a:lvl1pPr marL="179423" indent="-179423" algn="l">
              <a:lnSpc>
                <a:spcPct val="120000"/>
              </a:lnSpc>
              <a:spcBef>
                <a:spcPts val="9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200" b="0" i="0" u="none" cap="none">
                <a:solidFill>
                  <a:srgbClr val="000000"/>
                </a:solidFill>
                <a:latin typeface="+mn-lt"/>
              </a:defRPr>
            </a:lvl1pPr>
            <a:lvl2pPr marL="685834" indent="-228611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200" b="0" i="0" u="none" cap="none">
                <a:solidFill>
                  <a:srgbClr val="000000"/>
                </a:solidFill>
                <a:latin typeface="+mn-lt"/>
              </a:defRPr>
            </a:lvl2pPr>
            <a:lvl3pPr marL="1143057" indent="-228611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200" b="0" i="0" u="none" cap="none">
                <a:solidFill>
                  <a:srgbClr val="000000"/>
                </a:solidFill>
                <a:latin typeface="+mn-lt"/>
              </a:defRPr>
            </a:lvl3pPr>
            <a:lvl4pPr marL="1600280" indent="-228611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200" b="0" i="0" u="none" cap="none">
                <a:solidFill>
                  <a:srgbClr val="000000"/>
                </a:solidFill>
                <a:latin typeface="+mn-lt"/>
              </a:defRPr>
            </a:lvl4pPr>
            <a:lvl5pPr marL="2057503" indent="-228611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200" b="0" i="0" u="none" cap="none">
                <a:solidFill>
                  <a:srgbClr val="000000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5AC809EE-3F49-2D4E-8F85-316813737C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962" y="769938"/>
            <a:ext cx="11522075" cy="990496"/>
          </a:xfrm>
        </p:spPr>
        <p:txBody>
          <a:bodyPr anchor="t"/>
          <a:lstStyle>
            <a:lvl1pPr>
              <a:defRPr sz="4001"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7901C5B3-DC6C-E84A-9BB2-7FDB44B0F3D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34962" y="333375"/>
            <a:ext cx="11522075" cy="226800"/>
          </a:xfrm>
        </p:spPr>
        <p:txBody>
          <a:bodyPr lIns="36000" rIns="36000" anchor="b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500">
                <a:solidFill>
                  <a:schemeClr val="accent1"/>
                </a:solidFill>
                <a:latin typeface="+mj-lt"/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989209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 tektboks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334963" y="2548966"/>
            <a:ext cx="3708400" cy="226800"/>
          </a:xfrm>
        </p:spPr>
        <p:txBody>
          <a:bodyPr lIns="36000" rIns="36000"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500">
                <a:solidFill>
                  <a:schemeClr val="accent1"/>
                </a:solidFill>
                <a:latin typeface="+mj-lt"/>
              </a:defRPr>
            </a:lvl1pPr>
            <a:lvl2pPr marL="457223" indent="0">
              <a:buNone/>
              <a:defRPr sz="1400"/>
            </a:lvl2pPr>
            <a:lvl3pPr marL="914446" indent="0">
              <a:buNone/>
              <a:defRPr sz="1200"/>
            </a:lvl3pPr>
            <a:lvl4pPr marL="1371669" indent="0">
              <a:buNone/>
              <a:defRPr sz="1000"/>
            </a:lvl4pPr>
            <a:lvl5pPr marL="1828891" indent="0">
              <a:buNone/>
              <a:defRPr sz="1000"/>
            </a:lvl5pPr>
            <a:lvl6pPr marL="2286114" indent="0">
              <a:buNone/>
              <a:defRPr sz="1000"/>
            </a:lvl6pPr>
            <a:lvl7pPr marL="2743337" indent="0">
              <a:buNone/>
              <a:defRPr sz="1000"/>
            </a:lvl7pPr>
            <a:lvl8pPr marL="3200560" indent="0">
              <a:buNone/>
              <a:defRPr sz="1000"/>
            </a:lvl8pPr>
            <a:lvl9pPr marL="3657783" indent="0">
              <a:buNone/>
              <a:defRPr sz="1000"/>
            </a:lvl9pPr>
          </a:lstStyle>
          <a:p>
            <a:pPr lvl="0"/>
            <a:endParaRPr lang="en-US"/>
          </a:p>
        </p:txBody>
      </p:sp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E0CB6E16-7AD9-4BFF-9C3F-E3D6979B5E0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34963" y="2914922"/>
            <a:ext cx="3708400" cy="3609704"/>
          </a:xfrm>
          <a:prstGeom prst="rect">
            <a:avLst/>
          </a:prstGeom>
        </p:spPr>
        <p:txBody>
          <a:bodyPr lIns="36000" tIns="0" rIns="36000" bIns="0" numCol="1" spcCol="1080000"/>
          <a:lstStyle>
            <a:lvl1pPr marL="179423" indent="-179423" algn="l">
              <a:lnSpc>
                <a:spcPct val="120000"/>
              </a:lnSpc>
              <a:spcBef>
                <a:spcPts val="9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200" b="0" i="0" u="none" cap="none">
                <a:solidFill>
                  <a:schemeClr val="tx1"/>
                </a:solidFill>
                <a:latin typeface="+mn-lt"/>
              </a:defRPr>
            </a:lvl1pPr>
            <a:lvl2pPr marL="685834" indent="-228611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200" b="0" i="0" u="none" cap="none">
                <a:solidFill>
                  <a:schemeClr val="tx1"/>
                </a:solidFill>
                <a:latin typeface="+mn-lt"/>
              </a:defRPr>
            </a:lvl2pPr>
            <a:lvl3pPr marL="1143057" indent="-228611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200" b="0" i="0" u="none" cap="none">
                <a:solidFill>
                  <a:schemeClr val="tx1"/>
                </a:solidFill>
                <a:latin typeface="+mn-lt"/>
              </a:defRPr>
            </a:lvl3pPr>
            <a:lvl4pPr marL="1600280" indent="-228611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200" b="0" i="0" u="none" cap="none">
                <a:solidFill>
                  <a:schemeClr val="tx1"/>
                </a:solidFill>
                <a:latin typeface="+mn-lt"/>
              </a:defRPr>
            </a:lvl4pPr>
            <a:lvl5pPr marL="2057503" indent="-228611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200" b="0" i="0" u="none" cap="none"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890C7976-4FD2-43E0-9B2F-7A53D2C34C1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259263" y="2914922"/>
            <a:ext cx="3673475" cy="3609704"/>
          </a:xfrm>
          <a:prstGeom prst="rect">
            <a:avLst/>
          </a:prstGeom>
        </p:spPr>
        <p:txBody>
          <a:bodyPr lIns="36000" tIns="0" rIns="36000" bIns="0" numCol="1" spcCol="1080000"/>
          <a:lstStyle>
            <a:lvl1pPr marL="179423" indent="-179423" algn="l">
              <a:lnSpc>
                <a:spcPct val="120000"/>
              </a:lnSpc>
              <a:spcBef>
                <a:spcPts val="9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200" b="0" i="0" u="none" cap="none">
                <a:solidFill>
                  <a:schemeClr val="tx1"/>
                </a:solidFill>
                <a:latin typeface="+mn-lt"/>
              </a:defRPr>
            </a:lvl1pPr>
            <a:lvl2pPr marL="685834" indent="-228611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200" b="0" i="0" u="none" cap="none">
                <a:solidFill>
                  <a:schemeClr val="tx1"/>
                </a:solidFill>
                <a:latin typeface="+mn-lt"/>
              </a:defRPr>
            </a:lvl2pPr>
            <a:lvl3pPr marL="1143057" indent="-228611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200" b="0" i="0" u="none" cap="none">
                <a:solidFill>
                  <a:schemeClr val="tx1"/>
                </a:solidFill>
                <a:latin typeface="+mn-lt"/>
              </a:defRPr>
            </a:lvl3pPr>
            <a:lvl4pPr marL="1600280" indent="-228611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200" b="0" i="0" u="none" cap="none">
                <a:solidFill>
                  <a:schemeClr val="tx1"/>
                </a:solidFill>
                <a:latin typeface="+mn-lt"/>
              </a:defRPr>
            </a:lvl4pPr>
            <a:lvl5pPr marL="2057503" indent="-228611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200" b="0" i="0" u="none" cap="none"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Text Placeholder 10">
            <a:extLst>
              <a:ext uri="{FF2B5EF4-FFF2-40B4-BE49-F238E27FC236}">
                <a16:creationId xmlns:a16="http://schemas.microsoft.com/office/drawing/2014/main" id="{F9E6322A-D46D-46B2-8113-B412BF356C7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148637" y="2914922"/>
            <a:ext cx="3708401" cy="3609704"/>
          </a:xfrm>
          <a:prstGeom prst="rect">
            <a:avLst/>
          </a:prstGeom>
        </p:spPr>
        <p:txBody>
          <a:bodyPr lIns="36000" tIns="0" rIns="36000" bIns="0" numCol="1" spcCol="1080000"/>
          <a:lstStyle>
            <a:lvl1pPr marL="179423" indent="-179423" algn="l">
              <a:lnSpc>
                <a:spcPct val="120000"/>
              </a:lnSpc>
              <a:spcBef>
                <a:spcPts val="9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200" b="0" i="0" u="none" cap="none">
                <a:solidFill>
                  <a:schemeClr val="tx1"/>
                </a:solidFill>
                <a:latin typeface="+mn-lt"/>
              </a:defRPr>
            </a:lvl1pPr>
            <a:lvl2pPr marL="685834" indent="-228611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200" b="0" i="0" u="none" cap="none">
                <a:solidFill>
                  <a:schemeClr val="tx1"/>
                </a:solidFill>
                <a:latin typeface="+mn-lt"/>
              </a:defRPr>
            </a:lvl2pPr>
            <a:lvl3pPr marL="1143057" indent="-228611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200" b="0" i="0" u="none" cap="none">
                <a:solidFill>
                  <a:schemeClr val="tx1"/>
                </a:solidFill>
                <a:latin typeface="+mn-lt"/>
              </a:defRPr>
            </a:lvl3pPr>
            <a:lvl4pPr marL="1600280" indent="-228611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200" b="0" i="0" u="none" cap="none">
                <a:solidFill>
                  <a:schemeClr val="tx1"/>
                </a:solidFill>
                <a:latin typeface="+mn-lt"/>
              </a:defRPr>
            </a:lvl4pPr>
            <a:lvl5pPr marL="2057503" indent="-228611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200" b="0" i="0" u="none" cap="none"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BA05E1C6-6C57-4909-AAF0-F941974E02B6}"/>
              </a:ext>
            </a:extLst>
          </p:cNvPr>
          <p:cNvSpPr>
            <a:spLocks noGrp="1"/>
          </p:cNvSpPr>
          <p:nvPr>
            <p:ph type="body" sz="half" idx="17"/>
          </p:nvPr>
        </p:nvSpPr>
        <p:spPr>
          <a:xfrm>
            <a:off x="4259263" y="2548965"/>
            <a:ext cx="3673475" cy="226800"/>
          </a:xfrm>
        </p:spPr>
        <p:txBody>
          <a:bodyPr lIns="36000" rIns="36000"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500">
                <a:solidFill>
                  <a:schemeClr val="accent1"/>
                </a:solidFill>
                <a:latin typeface="+mj-lt"/>
              </a:defRPr>
            </a:lvl1pPr>
            <a:lvl2pPr marL="457223" indent="0">
              <a:buNone/>
              <a:defRPr sz="1400"/>
            </a:lvl2pPr>
            <a:lvl3pPr marL="914446" indent="0">
              <a:buNone/>
              <a:defRPr sz="1200"/>
            </a:lvl3pPr>
            <a:lvl4pPr marL="1371669" indent="0">
              <a:buNone/>
              <a:defRPr sz="1000"/>
            </a:lvl4pPr>
            <a:lvl5pPr marL="1828891" indent="0">
              <a:buNone/>
              <a:defRPr sz="1000"/>
            </a:lvl5pPr>
            <a:lvl6pPr marL="2286114" indent="0">
              <a:buNone/>
              <a:defRPr sz="1000"/>
            </a:lvl6pPr>
            <a:lvl7pPr marL="2743337" indent="0">
              <a:buNone/>
              <a:defRPr sz="1000"/>
            </a:lvl7pPr>
            <a:lvl8pPr marL="3200560" indent="0">
              <a:buNone/>
              <a:defRPr sz="1000"/>
            </a:lvl8pPr>
            <a:lvl9pPr marL="3657783" indent="0">
              <a:buNone/>
              <a:defRPr sz="1000"/>
            </a:lvl9pPr>
          </a:lstStyle>
          <a:p>
            <a:pPr lvl="0"/>
            <a:endParaRPr lang="en-US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28C938D6-1061-47E7-AD16-607F5E7F3E61}"/>
              </a:ext>
            </a:extLst>
          </p:cNvPr>
          <p:cNvSpPr>
            <a:spLocks noGrp="1"/>
          </p:cNvSpPr>
          <p:nvPr>
            <p:ph type="body" sz="half" idx="18"/>
          </p:nvPr>
        </p:nvSpPr>
        <p:spPr>
          <a:xfrm>
            <a:off x="8148637" y="2548965"/>
            <a:ext cx="3708401" cy="226800"/>
          </a:xfrm>
        </p:spPr>
        <p:txBody>
          <a:bodyPr lIns="36000" rIns="36000"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500">
                <a:solidFill>
                  <a:schemeClr val="accent1"/>
                </a:solidFill>
                <a:latin typeface="+mj-lt"/>
              </a:defRPr>
            </a:lvl1pPr>
            <a:lvl2pPr marL="457223" indent="0">
              <a:buNone/>
              <a:defRPr sz="1400"/>
            </a:lvl2pPr>
            <a:lvl3pPr marL="914446" indent="0">
              <a:buNone/>
              <a:defRPr sz="1200"/>
            </a:lvl3pPr>
            <a:lvl4pPr marL="1371669" indent="0">
              <a:buNone/>
              <a:defRPr sz="1000"/>
            </a:lvl4pPr>
            <a:lvl5pPr marL="1828891" indent="0">
              <a:buNone/>
              <a:defRPr sz="1000"/>
            </a:lvl5pPr>
            <a:lvl6pPr marL="2286114" indent="0">
              <a:buNone/>
              <a:defRPr sz="1000"/>
            </a:lvl6pPr>
            <a:lvl7pPr marL="2743337" indent="0">
              <a:buNone/>
              <a:defRPr sz="1000"/>
            </a:lvl7pPr>
            <a:lvl8pPr marL="3200560" indent="0">
              <a:buNone/>
              <a:defRPr sz="1000"/>
            </a:lvl8pPr>
            <a:lvl9pPr marL="3657783" indent="0">
              <a:buNone/>
              <a:defRPr sz="1000"/>
            </a:lvl9pPr>
          </a:lstStyle>
          <a:p>
            <a:pPr lvl="0"/>
            <a:endParaRPr lang="en-US"/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9069A0F9-BB6E-2E42-BA17-FD6E8B4D430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962" y="769938"/>
            <a:ext cx="11522075" cy="990496"/>
          </a:xfrm>
        </p:spPr>
        <p:txBody>
          <a:bodyPr anchor="t"/>
          <a:lstStyle>
            <a:lvl1pPr>
              <a:defRPr sz="4001"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  <p:sp>
        <p:nvSpPr>
          <p:cNvPr id="17" name="Subtitle 2">
            <a:extLst>
              <a:ext uri="{FF2B5EF4-FFF2-40B4-BE49-F238E27FC236}">
                <a16:creationId xmlns:a16="http://schemas.microsoft.com/office/drawing/2014/main" id="{58AC478F-713F-8848-9CB9-349C0A88066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34962" y="333375"/>
            <a:ext cx="11522075" cy="226800"/>
          </a:xfrm>
        </p:spPr>
        <p:txBody>
          <a:bodyPr lIns="36000" rIns="36000" anchor="b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500">
                <a:solidFill>
                  <a:schemeClr val="accent1"/>
                </a:solidFill>
                <a:latin typeface="+mj-lt"/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494655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3.xml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.xml"/><Relationship Id="rId13" Type="http://schemas.openxmlformats.org/officeDocument/2006/relationships/slideLayout" Target="../slideLayouts/slideLayout18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8.xml"/><Relationship Id="rId7" Type="http://schemas.openxmlformats.org/officeDocument/2006/relationships/slideLayout" Target="../slideLayouts/slideLayout12.xml"/><Relationship Id="rId12" Type="http://schemas.openxmlformats.org/officeDocument/2006/relationships/slideLayout" Target="../slideLayouts/slideLayout17.xml"/><Relationship Id="rId17" Type="http://schemas.openxmlformats.org/officeDocument/2006/relationships/oleObject" Target="../embeddings/oleObject2.bin"/><Relationship Id="rId2" Type="http://schemas.openxmlformats.org/officeDocument/2006/relationships/slideLayout" Target="../slideLayouts/slideLayout7.xml"/><Relationship Id="rId16" Type="http://schemas.openxmlformats.org/officeDocument/2006/relationships/tags" Target="../tags/tag5.xml"/><Relationship Id="rId1" Type="http://schemas.openxmlformats.org/officeDocument/2006/relationships/slideLayout" Target="../slideLayouts/slideLayout6.xml"/><Relationship Id="rId6" Type="http://schemas.openxmlformats.org/officeDocument/2006/relationships/slideLayout" Target="../slideLayouts/slideLayout11.xml"/><Relationship Id="rId11" Type="http://schemas.openxmlformats.org/officeDocument/2006/relationships/slideLayout" Target="../slideLayouts/slideLayout16.xml"/><Relationship Id="rId5" Type="http://schemas.openxmlformats.org/officeDocument/2006/relationships/slideLayout" Target="../slideLayouts/slideLayout10.xml"/><Relationship Id="rId15" Type="http://schemas.openxmlformats.org/officeDocument/2006/relationships/tags" Target="../tags/tag4.xml"/><Relationship Id="rId10" Type="http://schemas.openxmlformats.org/officeDocument/2006/relationships/slideLayout" Target="../slideLayouts/slideLayout15.xml"/><Relationship Id="rId4" Type="http://schemas.openxmlformats.org/officeDocument/2006/relationships/slideLayout" Target="../slideLayouts/slideLayout9.xml"/><Relationship Id="rId9" Type="http://schemas.openxmlformats.org/officeDocument/2006/relationships/slideLayout" Target="../slideLayouts/slideLayout14.xml"/><Relationship Id="rId14" Type="http://schemas.openxmlformats.org/officeDocument/2006/relationships/theme" Target="../theme/theme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7DD05636-3A21-45BF-BE67-412D2A1A5A9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17337389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395" imgH="394" progId="TCLayout.ActiveDocument.1">
                  <p:embed/>
                </p:oleObj>
              </mc:Choice>
              <mc:Fallback>
                <p:oleObj name="think-cell Slide" r:id="rId9" imgW="395" imgH="394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7DD05636-3A21-45BF-BE67-412D2A1A5A9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ktangel 6" hidden="1">
            <a:extLst>
              <a:ext uri="{FF2B5EF4-FFF2-40B4-BE49-F238E27FC236}">
                <a16:creationId xmlns:a16="http://schemas.microsoft.com/office/drawing/2014/main" id="{B126B37B-9D9A-4860-B16A-3107F78BB4E5}"/>
              </a:ext>
            </a:extLst>
          </p:cNvPr>
          <p:cNvSpPr/>
          <p:nvPr userDrawn="1">
            <p:custDataLst>
              <p:tags r:id="rId8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l"/>
            <a:endParaRPr lang="nb-NO" sz="4001" b="0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34963" y="765175"/>
            <a:ext cx="11522075" cy="57626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nb-NO"/>
              <a:t>Klikk for å redigere tittelstil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34963" y="1916113"/>
            <a:ext cx="3708399" cy="403383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</a:t>
            </a:r>
          </a:p>
          <a:p>
            <a:pPr lvl="0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334963" y="6297825"/>
            <a:ext cx="3708400" cy="226800"/>
          </a:xfrm>
          <a:prstGeom prst="rect">
            <a:avLst/>
          </a:prstGeom>
        </p:spPr>
        <p:txBody>
          <a:bodyPr vert="horz" wrap="none" lIns="36000" tIns="0" rIns="36000" bIns="0" rtlCol="0" anchor="t" anchorCtr="0"/>
          <a:lstStyle>
            <a:lvl1pPr algn="l">
              <a:defRPr sz="15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259263" y="6297825"/>
            <a:ext cx="3673476" cy="226800"/>
          </a:xfrm>
          <a:prstGeom prst="rect">
            <a:avLst/>
          </a:prstGeom>
        </p:spPr>
        <p:txBody>
          <a:bodyPr vert="horz" wrap="none" lIns="36000" tIns="0" rIns="36000" bIns="0" rtlCol="0" anchor="t" anchorCtr="0"/>
          <a:lstStyle>
            <a:lvl1pPr algn="ctr">
              <a:defRPr sz="15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148638" y="6297825"/>
            <a:ext cx="3708400" cy="226800"/>
          </a:xfrm>
          <a:prstGeom prst="rect">
            <a:avLst/>
          </a:prstGeom>
        </p:spPr>
        <p:txBody>
          <a:bodyPr vert="horz" wrap="none" lIns="36000" tIns="0" rIns="36000" bIns="0" rtlCol="0" anchor="t" anchorCtr="0"/>
          <a:lstStyle>
            <a:lvl1pPr algn="r">
              <a:defRPr sz="15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3BFB8EC-07A9-4E7C-9CFF-B5E417D52145}" type="slidenum">
              <a:rPr lang="en-US" smtClean="0"/>
              <a:pPr/>
              <a:t>‹#›</a:t>
            </a:fld>
            <a:endParaRPr lang="en-US"/>
          </a:p>
        </p:txBody>
      </p:sp>
      <p:grpSp>
        <p:nvGrpSpPr>
          <p:cNvPr id="35" name="Group 34">
            <a:extLst>
              <a:ext uri="{FF2B5EF4-FFF2-40B4-BE49-F238E27FC236}">
                <a16:creationId xmlns:a16="http://schemas.microsoft.com/office/drawing/2014/main" id="{3C0E7104-9735-4284-AF96-1CC45881F064}"/>
              </a:ext>
            </a:extLst>
          </p:cNvPr>
          <p:cNvGrpSpPr/>
          <p:nvPr userDrawn="1"/>
        </p:nvGrpSpPr>
        <p:grpSpPr>
          <a:xfrm>
            <a:off x="-1040266" y="102542"/>
            <a:ext cx="931728" cy="3072557"/>
            <a:chOff x="-1040266" y="102542"/>
            <a:chExt cx="931728" cy="3072557"/>
          </a:xfrm>
        </p:grpSpPr>
        <p:sp>
          <p:nvSpPr>
            <p:cNvPr id="26" name="Grønn 6">
              <a:extLst>
                <a:ext uri="{FF2B5EF4-FFF2-40B4-BE49-F238E27FC236}">
                  <a16:creationId xmlns:a16="http://schemas.microsoft.com/office/drawing/2014/main" id="{4180CD13-26BF-4956-A291-729168918052}"/>
                </a:ext>
              </a:extLst>
            </p:cNvPr>
            <p:cNvSpPr/>
            <p:nvPr/>
          </p:nvSpPr>
          <p:spPr>
            <a:xfrm>
              <a:off x="-371718" y="2313555"/>
              <a:ext cx="263180" cy="263180"/>
            </a:xfrm>
            <a:prstGeom prst="ellipse">
              <a:avLst/>
            </a:prstGeom>
            <a:solidFill>
              <a:srgbClr val="C4F2DA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>
                <a:latin typeface="Arial" panose="020B0604020202020204" pitchFamily="34" charset="0"/>
              </a:endParaRPr>
            </a:p>
          </p:txBody>
        </p:sp>
        <p:sp>
          <p:nvSpPr>
            <p:cNvPr id="27" name="Grønn 5">
              <a:extLst>
                <a:ext uri="{FF2B5EF4-FFF2-40B4-BE49-F238E27FC236}">
                  <a16:creationId xmlns:a16="http://schemas.microsoft.com/office/drawing/2014/main" id="{EF65FFA5-304A-4C4A-8D62-587F069625CA}"/>
                </a:ext>
              </a:extLst>
            </p:cNvPr>
            <p:cNvSpPr/>
            <p:nvPr/>
          </p:nvSpPr>
          <p:spPr>
            <a:xfrm>
              <a:off x="-371718" y="1981198"/>
              <a:ext cx="263180" cy="263180"/>
            </a:xfrm>
            <a:prstGeom prst="ellipse">
              <a:avLst/>
            </a:prstGeom>
            <a:solidFill>
              <a:srgbClr val="02A67F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>
                <a:latin typeface="Arial" panose="020B0604020202020204" pitchFamily="34" charset="0"/>
              </a:endParaRPr>
            </a:p>
          </p:txBody>
        </p:sp>
        <p:sp>
          <p:nvSpPr>
            <p:cNvPr id="28" name="Grønn 4">
              <a:extLst>
                <a:ext uri="{FF2B5EF4-FFF2-40B4-BE49-F238E27FC236}">
                  <a16:creationId xmlns:a16="http://schemas.microsoft.com/office/drawing/2014/main" id="{0CA528FE-FDB9-43EE-B0DD-6172169354CD}"/>
                </a:ext>
              </a:extLst>
            </p:cNvPr>
            <p:cNvSpPr/>
            <p:nvPr/>
          </p:nvSpPr>
          <p:spPr>
            <a:xfrm>
              <a:off x="-371718" y="1648843"/>
              <a:ext cx="263180" cy="263180"/>
            </a:xfrm>
            <a:prstGeom prst="ellipse">
              <a:avLst/>
            </a:prstGeom>
            <a:solidFill>
              <a:srgbClr val="247360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>
                <a:latin typeface="Arial" panose="020B0604020202020204" pitchFamily="34" charset="0"/>
              </a:endParaRPr>
            </a:p>
          </p:txBody>
        </p:sp>
        <p:sp>
          <p:nvSpPr>
            <p:cNvPr id="29" name="Grønn 3">
              <a:extLst>
                <a:ext uri="{FF2B5EF4-FFF2-40B4-BE49-F238E27FC236}">
                  <a16:creationId xmlns:a16="http://schemas.microsoft.com/office/drawing/2014/main" id="{1B0C6F27-1C72-4B25-A63C-9A6FEDFFBFC3}"/>
                </a:ext>
              </a:extLst>
            </p:cNvPr>
            <p:cNvSpPr/>
            <p:nvPr/>
          </p:nvSpPr>
          <p:spPr>
            <a:xfrm>
              <a:off x="-371718" y="1316488"/>
              <a:ext cx="263180" cy="263180"/>
            </a:xfrm>
            <a:prstGeom prst="ellipse">
              <a:avLst/>
            </a:prstGeom>
            <a:solidFill>
              <a:srgbClr val="002920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>
                <a:latin typeface="Arial" panose="020B0604020202020204" pitchFamily="34" charset="0"/>
              </a:endParaRPr>
            </a:p>
          </p:txBody>
        </p:sp>
        <p:sp>
          <p:nvSpPr>
            <p:cNvPr id="30" name="Grønn 2">
              <a:extLst>
                <a:ext uri="{FF2B5EF4-FFF2-40B4-BE49-F238E27FC236}">
                  <a16:creationId xmlns:a16="http://schemas.microsoft.com/office/drawing/2014/main" id="{78537D1D-F22C-440B-8742-C2A459B91F4E}"/>
                </a:ext>
              </a:extLst>
            </p:cNvPr>
            <p:cNvSpPr/>
            <p:nvPr/>
          </p:nvSpPr>
          <p:spPr>
            <a:xfrm>
              <a:off x="-371718" y="984133"/>
              <a:ext cx="263180" cy="263180"/>
            </a:xfrm>
            <a:prstGeom prst="ellipse">
              <a:avLst/>
            </a:prstGeom>
            <a:solidFill>
              <a:srgbClr val="7BEFB2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>
                <a:latin typeface="Arial" panose="020B0604020202020204" pitchFamily="34" charset="0"/>
              </a:endParaRPr>
            </a:p>
          </p:txBody>
        </p:sp>
        <p:sp>
          <p:nvSpPr>
            <p:cNvPr id="31" name="Grønn 1">
              <a:extLst>
                <a:ext uri="{FF2B5EF4-FFF2-40B4-BE49-F238E27FC236}">
                  <a16:creationId xmlns:a16="http://schemas.microsoft.com/office/drawing/2014/main" id="{B8DDF058-1591-4279-AA85-BD3CF6238515}"/>
                </a:ext>
              </a:extLst>
            </p:cNvPr>
            <p:cNvSpPr/>
            <p:nvPr/>
          </p:nvSpPr>
          <p:spPr>
            <a:xfrm>
              <a:off x="-371718" y="651778"/>
              <a:ext cx="263180" cy="263180"/>
            </a:xfrm>
            <a:prstGeom prst="ellipse">
              <a:avLst/>
            </a:prstGeom>
            <a:solidFill>
              <a:srgbClr val="015945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>
                <a:latin typeface="Arial" panose="020B0604020202020204" pitchFamily="34" charset="0"/>
              </a:endParaRPr>
            </a:p>
          </p:txBody>
        </p:sp>
        <p:sp>
          <p:nvSpPr>
            <p:cNvPr id="21" name="Grønn 1">
              <a:extLst>
                <a:ext uri="{FF2B5EF4-FFF2-40B4-BE49-F238E27FC236}">
                  <a16:creationId xmlns:a16="http://schemas.microsoft.com/office/drawing/2014/main" id="{942828EF-104D-47C4-B8BD-BD8E8185A0AC}"/>
                </a:ext>
              </a:extLst>
            </p:cNvPr>
            <p:cNvSpPr/>
            <p:nvPr/>
          </p:nvSpPr>
          <p:spPr>
            <a:xfrm>
              <a:off x="-702821" y="706858"/>
              <a:ext cx="138499" cy="138499"/>
            </a:xfrm>
            <a:prstGeom prst="ellipse">
              <a:avLst/>
            </a:prstGeom>
            <a:solidFill>
              <a:srgbClr val="F1F2F2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>
                <a:latin typeface="Arial" panose="020B0604020202020204" pitchFamily="34" charset="0"/>
              </a:endParaRPr>
            </a:p>
          </p:txBody>
        </p:sp>
        <p:sp>
          <p:nvSpPr>
            <p:cNvPr id="22" name="Grønn 1">
              <a:extLst>
                <a:ext uri="{FF2B5EF4-FFF2-40B4-BE49-F238E27FC236}">
                  <a16:creationId xmlns:a16="http://schemas.microsoft.com/office/drawing/2014/main" id="{1DA2D484-23B5-407C-915B-E173E3CEEEA9}"/>
                </a:ext>
              </a:extLst>
            </p:cNvPr>
            <p:cNvSpPr/>
            <p:nvPr/>
          </p:nvSpPr>
          <p:spPr>
            <a:xfrm>
              <a:off x="-702821" y="1039213"/>
              <a:ext cx="138499" cy="138499"/>
            </a:xfrm>
            <a:prstGeom prst="ellipse">
              <a:avLst/>
            </a:prstGeom>
            <a:solidFill>
              <a:srgbClr val="DCDDDE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>
                <a:latin typeface="Arial" panose="020B0604020202020204" pitchFamily="34" charset="0"/>
              </a:endParaRPr>
            </a:p>
          </p:txBody>
        </p:sp>
        <p:sp>
          <p:nvSpPr>
            <p:cNvPr id="23" name="Grønn 1">
              <a:extLst>
                <a:ext uri="{FF2B5EF4-FFF2-40B4-BE49-F238E27FC236}">
                  <a16:creationId xmlns:a16="http://schemas.microsoft.com/office/drawing/2014/main" id="{3453C48E-8AB4-41D2-89DA-744DB69BD413}"/>
                </a:ext>
              </a:extLst>
            </p:cNvPr>
            <p:cNvSpPr/>
            <p:nvPr/>
          </p:nvSpPr>
          <p:spPr>
            <a:xfrm>
              <a:off x="-702821" y="1371568"/>
              <a:ext cx="138499" cy="138499"/>
            </a:xfrm>
            <a:prstGeom prst="ellipse">
              <a:avLst/>
            </a:prstGeom>
            <a:solidFill>
              <a:srgbClr val="BCBEC0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>
                <a:latin typeface="Arial" panose="020B0604020202020204" pitchFamily="34" charset="0"/>
              </a:endParaRPr>
            </a:p>
          </p:txBody>
        </p:sp>
        <p:sp>
          <p:nvSpPr>
            <p:cNvPr id="24" name="Grønn 1">
              <a:extLst>
                <a:ext uri="{FF2B5EF4-FFF2-40B4-BE49-F238E27FC236}">
                  <a16:creationId xmlns:a16="http://schemas.microsoft.com/office/drawing/2014/main" id="{A6B4B7BD-A48C-42B6-96F5-536C0855224F}"/>
                </a:ext>
              </a:extLst>
            </p:cNvPr>
            <p:cNvSpPr/>
            <p:nvPr/>
          </p:nvSpPr>
          <p:spPr>
            <a:xfrm>
              <a:off x="-702821" y="1703923"/>
              <a:ext cx="138499" cy="138499"/>
            </a:xfrm>
            <a:prstGeom prst="ellipse">
              <a:avLst/>
            </a:prstGeom>
            <a:solidFill>
              <a:srgbClr val="808285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>
                <a:latin typeface="Arial" panose="020B0604020202020204" pitchFamily="34" charset="0"/>
              </a:endParaRPr>
            </a:p>
          </p:txBody>
        </p:sp>
        <p:sp>
          <p:nvSpPr>
            <p:cNvPr id="25" name="Grønn 1">
              <a:extLst>
                <a:ext uri="{FF2B5EF4-FFF2-40B4-BE49-F238E27FC236}">
                  <a16:creationId xmlns:a16="http://schemas.microsoft.com/office/drawing/2014/main" id="{5E5A48BE-29C4-4D1B-9D7A-D869135A7FE0}"/>
                </a:ext>
              </a:extLst>
            </p:cNvPr>
            <p:cNvSpPr/>
            <p:nvPr/>
          </p:nvSpPr>
          <p:spPr>
            <a:xfrm>
              <a:off x="-702821" y="2036278"/>
              <a:ext cx="138499" cy="138499"/>
            </a:xfrm>
            <a:prstGeom prst="ellipse">
              <a:avLst/>
            </a:prstGeom>
            <a:solidFill>
              <a:srgbClr val="000000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>
                <a:latin typeface="Arial" panose="020B0604020202020204" pitchFamily="34" charset="0"/>
              </a:endParaRPr>
            </a:p>
          </p:txBody>
        </p:sp>
        <p:sp>
          <p:nvSpPr>
            <p:cNvPr id="13" name="Grønn 1">
              <a:extLst>
                <a:ext uri="{FF2B5EF4-FFF2-40B4-BE49-F238E27FC236}">
                  <a16:creationId xmlns:a16="http://schemas.microsoft.com/office/drawing/2014/main" id="{8E04445C-0176-4540-95A3-3999876B086C}"/>
                </a:ext>
              </a:extLst>
            </p:cNvPr>
            <p:cNvSpPr/>
            <p:nvPr/>
          </p:nvSpPr>
          <p:spPr>
            <a:xfrm>
              <a:off x="-1035008" y="710113"/>
              <a:ext cx="138499" cy="138499"/>
            </a:xfrm>
            <a:prstGeom prst="ellipse">
              <a:avLst/>
            </a:prstGeom>
            <a:solidFill>
              <a:srgbClr val="00467A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>
                <a:latin typeface="Arial" panose="020B0604020202020204" pitchFamily="34" charset="0"/>
              </a:endParaRPr>
            </a:p>
          </p:txBody>
        </p:sp>
        <p:sp>
          <p:nvSpPr>
            <p:cNvPr id="14" name="Grønn 1">
              <a:extLst>
                <a:ext uri="{FF2B5EF4-FFF2-40B4-BE49-F238E27FC236}">
                  <a16:creationId xmlns:a16="http://schemas.microsoft.com/office/drawing/2014/main" id="{6240DB03-AF8A-4970-94CF-27F9CD355E53}"/>
                </a:ext>
              </a:extLst>
            </p:cNvPr>
            <p:cNvSpPr/>
            <p:nvPr/>
          </p:nvSpPr>
          <p:spPr>
            <a:xfrm>
              <a:off x="-1035008" y="1042468"/>
              <a:ext cx="138499" cy="138499"/>
            </a:xfrm>
            <a:prstGeom prst="ellipse">
              <a:avLst/>
            </a:prstGeom>
            <a:solidFill>
              <a:srgbClr val="90DDFA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>
                <a:latin typeface="Arial" panose="020B0604020202020204" pitchFamily="34" charset="0"/>
              </a:endParaRPr>
            </a:p>
          </p:txBody>
        </p:sp>
        <p:sp>
          <p:nvSpPr>
            <p:cNvPr id="15" name="Grønn 1">
              <a:extLst>
                <a:ext uri="{FF2B5EF4-FFF2-40B4-BE49-F238E27FC236}">
                  <a16:creationId xmlns:a16="http://schemas.microsoft.com/office/drawing/2014/main" id="{5E08615D-9A27-483C-86FC-A2236A90023A}"/>
                </a:ext>
              </a:extLst>
            </p:cNvPr>
            <p:cNvSpPr/>
            <p:nvPr/>
          </p:nvSpPr>
          <p:spPr>
            <a:xfrm>
              <a:off x="-1033924" y="1374823"/>
              <a:ext cx="138499" cy="138499"/>
            </a:xfrm>
            <a:prstGeom prst="ellipse">
              <a:avLst/>
            </a:prstGeom>
            <a:solidFill>
              <a:srgbClr val="372770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>
                <a:latin typeface="Arial" panose="020B0604020202020204" pitchFamily="34" charset="0"/>
              </a:endParaRPr>
            </a:p>
          </p:txBody>
        </p:sp>
        <p:sp>
          <p:nvSpPr>
            <p:cNvPr id="16" name="Grønn 1">
              <a:extLst>
                <a:ext uri="{FF2B5EF4-FFF2-40B4-BE49-F238E27FC236}">
                  <a16:creationId xmlns:a16="http://schemas.microsoft.com/office/drawing/2014/main" id="{D227DBA9-F865-4D67-990A-5665725D0611}"/>
                </a:ext>
              </a:extLst>
            </p:cNvPr>
            <p:cNvSpPr/>
            <p:nvPr/>
          </p:nvSpPr>
          <p:spPr>
            <a:xfrm>
              <a:off x="-1035008" y="1707178"/>
              <a:ext cx="138499" cy="138499"/>
            </a:xfrm>
            <a:prstGeom prst="ellipse">
              <a:avLst/>
            </a:prstGeom>
            <a:solidFill>
              <a:srgbClr val="C0A9FF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>
                <a:latin typeface="Arial" panose="020B0604020202020204" pitchFamily="34" charset="0"/>
              </a:endParaRPr>
            </a:p>
          </p:txBody>
        </p:sp>
        <p:sp>
          <p:nvSpPr>
            <p:cNvPr id="17" name="Grønn 1">
              <a:extLst>
                <a:ext uri="{FF2B5EF4-FFF2-40B4-BE49-F238E27FC236}">
                  <a16:creationId xmlns:a16="http://schemas.microsoft.com/office/drawing/2014/main" id="{F6AC13DE-B379-412F-9BCA-4574CE794A14}"/>
                </a:ext>
              </a:extLst>
            </p:cNvPr>
            <p:cNvSpPr/>
            <p:nvPr/>
          </p:nvSpPr>
          <p:spPr>
            <a:xfrm>
              <a:off x="-1035008" y="2039533"/>
              <a:ext cx="138499" cy="138499"/>
            </a:xfrm>
            <a:prstGeom prst="ellipse">
              <a:avLst/>
            </a:prstGeom>
            <a:solidFill>
              <a:srgbClr val="6B1E27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>
                <a:latin typeface="Arial" panose="020B0604020202020204" pitchFamily="34" charset="0"/>
              </a:endParaRPr>
            </a:p>
          </p:txBody>
        </p:sp>
        <p:sp>
          <p:nvSpPr>
            <p:cNvPr id="18" name="Grønn 1">
              <a:extLst>
                <a:ext uri="{FF2B5EF4-FFF2-40B4-BE49-F238E27FC236}">
                  <a16:creationId xmlns:a16="http://schemas.microsoft.com/office/drawing/2014/main" id="{6DF52E3E-57FE-4DF7-B103-793D33049FAD}"/>
                </a:ext>
              </a:extLst>
            </p:cNvPr>
            <p:cNvSpPr/>
            <p:nvPr/>
          </p:nvSpPr>
          <p:spPr>
            <a:xfrm>
              <a:off x="-1040266" y="2371888"/>
              <a:ext cx="138499" cy="138499"/>
            </a:xfrm>
            <a:prstGeom prst="ellipse">
              <a:avLst/>
            </a:prstGeom>
            <a:solidFill>
              <a:srgbClr val="D48282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>
                <a:latin typeface="Arial" panose="020B0604020202020204" pitchFamily="34" charset="0"/>
              </a:endParaRPr>
            </a:p>
          </p:txBody>
        </p:sp>
        <p:sp>
          <p:nvSpPr>
            <p:cNvPr id="19" name="Grønn 1">
              <a:extLst>
                <a:ext uri="{FF2B5EF4-FFF2-40B4-BE49-F238E27FC236}">
                  <a16:creationId xmlns:a16="http://schemas.microsoft.com/office/drawing/2014/main" id="{CB333F47-E506-4B11-B51D-FBA7B203D653}"/>
                </a:ext>
              </a:extLst>
            </p:cNvPr>
            <p:cNvSpPr/>
            <p:nvPr/>
          </p:nvSpPr>
          <p:spPr>
            <a:xfrm>
              <a:off x="-1040266" y="2704243"/>
              <a:ext cx="138499" cy="138499"/>
            </a:xfrm>
            <a:prstGeom prst="ellipse">
              <a:avLst/>
            </a:prstGeom>
            <a:solidFill>
              <a:srgbClr val="E85800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>
                <a:latin typeface="Arial" panose="020B0604020202020204" pitchFamily="34" charset="0"/>
              </a:endParaRPr>
            </a:p>
          </p:txBody>
        </p:sp>
        <p:sp>
          <p:nvSpPr>
            <p:cNvPr id="20" name="Grønn 1">
              <a:extLst>
                <a:ext uri="{FF2B5EF4-FFF2-40B4-BE49-F238E27FC236}">
                  <a16:creationId xmlns:a16="http://schemas.microsoft.com/office/drawing/2014/main" id="{0DC3C48F-B2E2-4084-B351-C766A2402B5A}"/>
                </a:ext>
              </a:extLst>
            </p:cNvPr>
            <p:cNvSpPr/>
            <p:nvPr/>
          </p:nvSpPr>
          <p:spPr>
            <a:xfrm>
              <a:off x="-1040266" y="3036600"/>
              <a:ext cx="138499" cy="138499"/>
            </a:xfrm>
            <a:prstGeom prst="ellipse">
              <a:avLst/>
            </a:prstGeom>
            <a:solidFill>
              <a:srgbClr val="FFC46B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>
                <a:latin typeface="Arial" panose="020B0604020202020204" pitchFamily="34" charset="0"/>
              </a:endParaRPr>
            </a:p>
          </p:txBody>
        </p:sp>
        <p:sp>
          <p:nvSpPr>
            <p:cNvPr id="32" name="TextBox 31">
              <a:extLst>
                <a:ext uri="{FF2B5EF4-FFF2-40B4-BE49-F238E27FC236}">
                  <a16:creationId xmlns:a16="http://schemas.microsoft.com/office/drawing/2014/main" id="{0932A4D7-2F12-453F-8F1E-CE6F9EDC2279}"/>
                </a:ext>
              </a:extLst>
            </p:cNvPr>
            <p:cNvSpPr txBox="1"/>
            <p:nvPr/>
          </p:nvSpPr>
          <p:spPr>
            <a:xfrm rot="16200000">
              <a:off x="-445313" y="289773"/>
              <a:ext cx="410369" cy="138499"/>
            </a:xfrm>
            <a:prstGeom prst="rect">
              <a:avLst/>
            </a:prstGeom>
            <a:noFill/>
          </p:spPr>
          <p:txBody>
            <a:bodyPr wrap="none" lIns="0" tIns="0" rIns="0" bIns="0" rtlCol="0" anchor="t" anchorCtr="0">
              <a:spAutoFit/>
            </a:bodyPr>
            <a:lstStyle/>
            <a:p>
              <a:pPr algn="l"/>
              <a:r>
                <a:rPr lang="nb-NO">
                  <a:solidFill>
                    <a:schemeClr val="bg1"/>
                  </a:solidFill>
                  <a:latin typeface="Arial" panose="020B0604020202020204" pitchFamily="34" charset="0"/>
                </a:rPr>
                <a:t>Identitet</a:t>
              </a:r>
            </a:p>
          </p:txBody>
        </p:sp>
        <p:sp>
          <p:nvSpPr>
            <p:cNvPr id="33" name="TextBox 32">
              <a:extLst>
                <a:ext uri="{FF2B5EF4-FFF2-40B4-BE49-F238E27FC236}">
                  <a16:creationId xmlns:a16="http://schemas.microsoft.com/office/drawing/2014/main" id="{A04F6DB5-7709-4F50-9D46-BE0BF3777CF8}"/>
                </a:ext>
              </a:extLst>
            </p:cNvPr>
            <p:cNvSpPr txBox="1"/>
            <p:nvPr/>
          </p:nvSpPr>
          <p:spPr>
            <a:xfrm rot="16200000">
              <a:off x="-864404" y="264125"/>
              <a:ext cx="461665" cy="138499"/>
            </a:xfrm>
            <a:prstGeom prst="rect">
              <a:avLst/>
            </a:prstGeom>
            <a:noFill/>
          </p:spPr>
          <p:txBody>
            <a:bodyPr wrap="none" lIns="0" tIns="0" rIns="0" bIns="0" rtlCol="0" anchor="t" anchorCtr="0">
              <a:spAutoFit/>
            </a:bodyPr>
            <a:lstStyle/>
            <a:p>
              <a:pPr algn="l"/>
              <a:r>
                <a:rPr lang="nb-NO">
                  <a:solidFill>
                    <a:schemeClr val="bg1"/>
                  </a:solidFill>
                  <a:latin typeface="Arial" panose="020B0604020202020204" pitchFamily="34" charset="0"/>
                </a:rPr>
                <a:t>Gråskala</a:t>
              </a:r>
            </a:p>
          </p:txBody>
        </p:sp>
        <p:sp>
          <p:nvSpPr>
            <p:cNvPr id="34" name="TextBox 33">
              <a:extLst>
                <a:ext uri="{FF2B5EF4-FFF2-40B4-BE49-F238E27FC236}">
                  <a16:creationId xmlns:a16="http://schemas.microsoft.com/office/drawing/2014/main" id="{F58D3A96-B160-43B8-93A5-CB0536C17791}"/>
                </a:ext>
              </a:extLst>
            </p:cNvPr>
            <p:cNvSpPr txBox="1"/>
            <p:nvPr/>
          </p:nvSpPr>
          <p:spPr>
            <a:xfrm rot="16200000">
              <a:off x="-1119647" y="341069"/>
              <a:ext cx="307777" cy="138499"/>
            </a:xfrm>
            <a:prstGeom prst="rect">
              <a:avLst/>
            </a:prstGeom>
            <a:noFill/>
          </p:spPr>
          <p:txBody>
            <a:bodyPr wrap="none" lIns="0" tIns="0" rIns="0" bIns="0" rtlCol="0" anchor="t" anchorCtr="0">
              <a:spAutoFit/>
            </a:bodyPr>
            <a:lstStyle/>
            <a:p>
              <a:pPr algn="l"/>
              <a:r>
                <a:rPr lang="nb-NO">
                  <a:solidFill>
                    <a:schemeClr val="bg1"/>
                  </a:solidFill>
                  <a:latin typeface="Arial" panose="020B0604020202020204" pitchFamily="34" charset="0"/>
                </a:rPr>
                <a:t>Støtt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083525968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752" r:id="rId1"/>
    <p:sldLayoutId id="2147483753" r:id="rId2"/>
    <p:sldLayoutId id="2147483756" r:id="rId3"/>
    <p:sldLayoutId id="2147483757" r:id="rId4"/>
    <p:sldLayoutId id="2147483754" r:id="rId5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/>
  <p:txStyles>
    <p:titleStyle>
      <a:lvl1pPr algn="l" defTabSz="914446" rtl="0" eaLnBrk="1" latinLnBrk="0" hangingPunct="1">
        <a:lnSpc>
          <a:spcPct val="90000"/>
        </a:lnSpc>
        <a:spcBef>
          <a:spcPct val="0"/>
        </a:spcBef>
        <a:buNone/>
        <a:defRPr sz="400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9423" indent="-179423" algn="l" defTabSz="914446" rtl="0" eaLnBrk="1" latinLnBrk="0" hangingPunct="1">
        <a:lnSpc>
          <a:spcPct val="120000"/>
        </a:lnSpc>
        <a:spcBef>
          <a:spcPts val="9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34" indent="-228611" algn="l" defTabSz="914446" rtl="0" eaLnBrk="1" latinLnBrk="0" hangingPunct="1">
        <a:lnSpc>
          <a:spcPct val="12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57" indent="-228611" algn="l" defTabSz="914446" rtl="0" eaLnBrk="1" latinLnBrk="0" hangingPunct="1">
        <a:lnSpc>
          <a:spcPct val="12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80" indent="-228611" algn="l" defTabSz="914446" rtl="0" eaLnBrk="1" latinLnBrk="0" hangingPunct="1">
        <a:lnSpc>
          <a:spcPct val="12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503" indent="-228611" algn="l" defTabSz="914446" rtl="0" eaLnBrk="1" latinLnBrk="0" hangingPunct="1">
        <a:lnSpc>
          <a:spcPct val="12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726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948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171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394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23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46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69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91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114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337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560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783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0">
          <p15:clr>
            <a:srgbClr val="A4A3A4"/>
          </p15:clr>
        </p15:guide>
        <p15:guide id="3" pos="7469">
          <p15:clr>
            <a:srgbClr val="A4A3A4"/>
          </p15:clr>
        </p15:guide>
        <p15:guide id="4" orient="horz" pos="4110">
          <p15:clr>
            <a:srgbClr val="A4A3A4"/>
          </p15:clr>
        </p15:guide>
        <p15:guide id="5" pos="2547">
          <p15:clr>
            <a:srgbClr val="A4A3A4"/>
          </p15:clr>
        </p15:guide>
        <p15:guide id="6" pos="2683">
          <p15:clr>
            <a:srgbClr val="A4A3A4"/>
          </p15:clr>
        </p15:guide>
        <p15:guide id="7" pos="4997">
          <p15:clr>
            <a:srgbClr val="A4A3A4"/>
          </p15:clr>
        </p15:guide>
        <p15:guide id="8" pos="5133">
          <p15:clr>
            <a:srgbClr val="A4A3A4"/>
          </p15:clr>
        </p15:guide>
        <p15:guide id="9" orient="horz" pos="482">
          <p15:clr>
            <a:srgbClr val="A4A3A4"/>
          </p15:clr>
        </p15:guide>
        <p15:guide id="10" orient="horz" pos="845">
          <p15:clr>
            <a:srgbClr val="A4A3A4"/>
          </p15:clr>
        </p15:guide>
        <p15:guide id="11" pos="211">
          <p15:clr>
            <a:srgbClr val="A4A3A4"/>
          </p15:clr>
        </p15:guide>
        <p15:guide id="12" orient="horz" pos="1207">
          <p15:clr>
            <a:srgbClr val="A4A3A4"/>
          </p15:clr>
        </p15:guide>
        <p15:guide id="13" orient="horz" pos="3748">
          <p15:clr>
            <a:srgbClr val="A4A3A4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DC9C5DEE-7379-46EA-B1E0-5915C31393E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1509965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7" imgW="395" imgH="394" progId="TCLayout.ActiveDocument.1">
                  <p:embed/>
                </p:oleObj>
              </mc:Choice>
              <mc:Fallback>
                <p:oleObj name="think-cell Slide" r:id="rId17" imgW="395" imgH="394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DC9C5DEE-7379-46EA-B1E0-5915C31393E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ktangel 6" hidden="1">
            <a:extLst>
              <a:ext uri="{FF2B5EF4-FFF2-40B4-BE49-F238E27FC236}">
                <a16:creationId xmlns:a16="http://schemas.microsoft.com/office/drawing/2014/main" id="{3CC158DE-D677-43A4-853E-C5D44A61AF12}"/>
              </a:ext>
            </a:extLst>
          </p:cNvPr>
          <p:cNvSpPr/>
          <p:nvPr userDrawn="1">
            <p:custDataLst>
              <p:tags r:id="rId1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l"/>
            <a:endParaRPr lang="en-US" sz="4001" b="0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34963" y="765175"/>
            <a:ext cx="11522075" cy="57626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34963" y="1916113"/>
            <a:ext cx="3708399" cy="403383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</a:t>
            </a:r>
          </a:p>
          <a:p>
            <a:pPr lvl="0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334962" y="6297825"/>
            <a:ext cx="3708400" cy="226800"/>
          </a:xfrm>
          <a:prstGeom prst="rect">
            <a:avLst/>
          </a:prstGeom>
        </p:spPr>
        <p:txBody>
          <a:bodyPr vert="horz" lIns="36000" tIns="0" rIns="36000" bIns="0" rtlCol="0" anchor="ctr"/>
          <a:lstStyle>
            <a:lvl1pPr algn="l">
              <a:defRPr sz="15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259262" y="6297825"/>
            <a:ext cx="3673476" cy="226800"/>
          </a:xfrm>
          <a:prstGeom prst="rect">
            <a:avLst/>
          </a:prstGeom>
        </p:spPr>
        <p:txBody>
          <a:bodyPr vert="horz" lIns="36000" tIns="0" rIns="36000" bIns="0" rtlCol="0" anchor="ctr"/>
          <a:lstStyle>
            <a:lvl1pPr algn="ctr">
              <a:defRPr sz="15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148637" y="6297825"/>
            <a:ext cx="3708400" cy="226800"/>
          </a:xfrm>
          <a:prstGeom prst="rect">
            <a:avLst/>
          </a:prstGeom>
        </p:spPr>
        <p:txBody>
          <a:bodyPr vert="horz" lIns="36000" tIns="0" rIns="36000" bIns="0" rtlCol="0" anchor="ctr"/>
          <a:lstStyle>
            <a:lvl1pPr algn="r">
              <a:defRPr sz="15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3BFB8EC-07A9-4E7C-9CFF-B5E417D5214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Grønn 6">
            <a:extLst>
              <a:ext uri="{FF2B5EF4-FFF2-40B4-BE49-F238E27FC236}">
                <a16:creationId xmlns:a16="http://schemas.microsoft.com/office/drawing/2014/main" id="{DEFC32D2-D900-4F59-8958-EB688A575697}"/>
              </a:ext>
            </a:extLst>
          </p:cNvPr>
          <p:cNvSpPr/>
          <p:nvPr/>
        </p:nvSpPr>
        <p:spPr>
          <a:xfrm>
            <a:off x="-371718" y="2313555"/>
            <a:ext cx="263180" cy="263180"/>
          </a:xfrm>
          <a:prstGeom prst="ellipse">
            <a:avLst/>
          </a:prstGeom>
          <a:solidFill>
            <a:srgbClr val="C4F2DA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>
              <a:latin typeface="Arial" panose="020B0604020202020204" pitchFamily="34" charset="0"/>
            </a:endParaRPr>
          </a:p>
        </p:txBody>
      </p:sp>
      <p:sp>
        <p:nvSpPr>
          <p:cNvPr id="11" name="Grønn 5">
            <a:extLst>
              <a:ext uri="{FF2B5EF4-FFF2-40B4-BE49-F238E27FC236}">
                <a16:creationId xmlns:a16="http://schemas.microsoft.com/office/drawing/2014/main" id="{C25E21F5-8F77-4B07-B9CE-0B656408F31B}"/>
              </a:ext>
            </a:extLst>
          </p:cNvPr>
          <p:cNvSpPr/>
          <p:nvPr/>
        </p:nvSpPr>
        <p:spPr>
          <a:xfrm>
            <a:off x="-371718" y="1981198"/>
            <a:ext cx="263180" cy="263180"/>
          </a:xfrm>
          <a:prstGeom prst="ellipse">
            <a:avLst/>
          </a:prstGeom>
          <a:solidFill>
            <a:srgbClr val="02A67F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>
              <a:latin typeface="Arial" panose="020B0604020202020204" pitchFamily="34" charset="0"/>
            </a:endParaRPr>
          </a:p>
        </p:txBody>
      </p:sp>
      <p:sp>
        <p:nvSpPr>
          <p:cNvPr id="12" name="Grønn 4">
            <a:extLst>
              <a:ext uri="{FF2B5EF4-FFF2-40B4-BE49-F238E27FC236}">
                <a16:creationId xmlns:a16="http://schemas.microsoft.com/office/drawing/2014/main" id="{F89C2CC7-22DD-4321-B73F-7906390C2D0E}"/>
              </a:ext>
            </a:extLst>
          </p:cNvPr>
          <p:cNvSpPr/>
          <p:nvPr/>
        </p:nvSpPr>
        <p:spPr>
          <a:xfrm>
            <a:off x="-371718" y="1648843"/>
            <a:ext cx="263180" cy="263180"/>
          </a:xfrm>
          <a:prstGeom prst="ellipse">
            <a:avLst/>
          </a:prstGeom>
          <a:solidFill>
            <a:srgbClr val="247360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>
              <a:latin typeface="Arial" panose="020B0604020202020204" pitchFamily="34" charset="0"/>
            </a:endParaRPr>
          </a:p>
        </p:txBody>
      </p:sp>
      <p:sp>
        <p:nvSpPr>
          <p:cNvPr id="13" name="Grønn 3">
            <a:extLst>
              <a:ext uri="{FF2B5EF4-FFF2-40B4-BE49-F238E27FC236}">
                <a16:creationId xmlns:a16="http://schemas.microsoft.com/office/drawing/2014/main" id="{C53FD56A-8668-4E99-BDB1-9F61EC2AAB24}"/>
              </a:ext>
            </a:extLst>
          </p:cNvPr>
          <p:cNvSpPr/>
          <p:nvPr/>
        </p:nvSpPr>
        <p:spPr>
          <a:xfrm>
            <a:off x="-371718" y="1316488"/>
            <a:ext cx="263180" cy="263180"/>
          </a:xfrm>
          <a:prstGeom prst="ellipse">
            <a:avLst/>
          </a:prstGeom>
          <a:solidFill>
            <a:srgbClr val="002920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>
              <a:latin typeface="Arial" panose="020B0604020202020204" pitchFamily="34" charset="0"/>
            </a:endParaRPr>
          </a:p>
        </p:txBody>
      </p:sp>
      <p:sp>
        <p:nvSpPr>
          <p:cNvPr id="14" name="Grønn 2">
            <a:extLst>
              <a:ext uri="{FF2B5EF4-FFF2-40B4-BE49-F238E27FC236}">
                <a16:creationId xmlns:a16="http://schemas.microsoft.com/office/drawing/2014/main" id="{A8802987-52E1-4146-A02F-4DDAECF25160}"/>
              </a:ext>
            </a:extLst>
          </p:cNvPr>
          <p:cNvSpPr/>
          <p:nvPr/>
        </p:nvSpPr>
        <p:spPr>
          <a:xfrm>
            <a:off x="-371718" y="984133"/>
            <a:ext cx="263180" cy="263180"/>
          </a:xfrm>
          <a:prstGeom prst="ellipse">
            <a:avLst/>
          </a:prstGeom>
          <a:solidFill>
            <a:srgbClr val="7BEFB2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>
              <a:latin typeface="Arial" panose="020B0604020202020204" pitchFamily="34" charset="0"/>
            </a:endParaRPr>
          </a:p>
        </p:txBody>
      </p:sp>
      <p:sp>
        <p:nvSpPr>
          <p:cNvPr id="15" name="Grønn 1">
            <a:extLst>
              <a:ext uri="{FF2B5EF4-FFF2-40B4-BE49-F238E27FC236}">
                <a16:creationId xmlns:a16="http://schemas.microsoft.com/office/drawing/2014/main" id="{20DB799D-A66E-46CA-8E97-8FE845A71F58}"/>
              </a:ext>
            </a:extLst>
          </p:cNvPr>
          <p:cNvSpPr/>
          <p:nvPr/>
        </p:nvSpPr>
        <p:spPr>
          <a:xfrm>
            <a:off x="-371718" y="651778"/>
            <a:ext cx="263180" cy="263180"/>
          </a:xfrm>
          <a:prstGeom prst="ellipse">
            <a:avLst/>
          </a:prstGeom>
          <a:solidFill>
            <a:srgbClr val="015945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>
              <a:latin typeface="Arial" panose="020B0604020202020204" pitchFamily="34" charset="0"/>
            </a:endParaRPr>
          </a:p>
        </p:txBody>
      </p:sp>
      <p:sp>
        <p:nvSpPr>
          <p:cNvPr id="16" name="Grønn 1">
            <a:extLst>
              <a:ext uri="{FF2B5EF4-FFF2-40B4-BE49-F238E27FC236}">
                <a16:creationId xmlns:a16="http://schemas.microsoft.com/office/drawing/2014/main" id="{54DB7CF0-E5C2-4762-ACC7-6E5003AF5D16}"/>
              </a:ext>
            </a:extLst>
          </p:cNvPr>
          <p:cNvSpPr/>
          <p:nvPr/>
        </p:nvSpPr>
        <p:spPr>
          <a:xfrm>
            <a:off x="-702821" y="706858"/>
            <a:ext cx="138499" cy="138499"/>
          </a:xfrm>
          <a:prstGeom prst="ellipse">
            <a:avLst/>
          </a:prstGeom>
          <a:solidFill>
            <a:srgbClr val="F1F2F2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>
              <a:latin typeface="Arial" panose="020B0604020202020204" pitchFamily="34" charset="0"/>
            </a:endParaRPr>
          </a:p>
        </p:txBody>
      </p:sp>
      <p:sp>
        <p:nvSpPr>
          <p:cNvPr id="17" name="Grønn 1">
            <a:extLst>
              <a:ext uri="{FF2B5EF4-FFF2-40B4-BE49-F238E27FC236}">
                <a16:creationId xmlns:a16="http://schemas.microsoft.com/office/drawing/2014/main" id="{B686E1D7-9A95-46B3-833E-FE5C24838884}"/>
              </a:ext>
            </a:extLst>
          </p:cNvPr>
          <p:cNvSpPr/>
          <p:nvPr/>
        </p:nvSpPr>
        <p:spPr>
          <a:xfrm>
            <a:off x="-702821" y="1039213"/>
            <a:ext cx="138499" cy="138499"/>
          </a:xfrm>
          <a:prstGeom prst="ellipse">
            <a:avLst/>
          </a:prstGeom>
          <a:solidFill>
            <a:srgbClr val="DCDDDE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>
              <a:latin typeface="Arial" panose="020B0604020202020204" pitchFamily="34" charset="0"/>
            </a:endParaRPr>
          </a:p>
        </p:txBody>
      </p:sp>
      <p:sp>
        <p:nvSpPr>
          <p:cNvPr id="18" name="Grønn 1">
            <a:extLst>
              <a:ext uri="{FF2B5EF4-FFF2-40B4-BE49-F238E27FC236}">
                <a16:creationId xmlns:a16="http://schemas.microsoft.com/office/drawing/2014/main" id="{08ABF0F9-5557-40E1-9335-EBDD1E427DE6}"/>
              </a:ext>
            </a:extLst>
          </p:cNvPr>
          <p:cNvSpPr/>
          <p:nvPr/>
        </p:nvSpPr>
        <p:spPr>
          <a:xfrm>
            <a:off x="-702821" y="1371568"/>
            <a:ext cx="138499" cy="138499"/>
          </a:xfrm>
          <a:prstGeom prst="ellipse">
            <a:avLst/>
          </a:prstGeom>
          <a:solidFill>
            <a:srgbClr val="BCBEC0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>
              <a:latin typeface="Arial" panose="020B0604020202020204" pitchFamily="34" charset="0"/>
            </a:endParaRPr>
          </a:p>
        </p:txBody>
      </p:sp>
      <p:sp>
        <p:nvSpPr>
          <p:cNvPr id="19" name="Grønn 1">
            <a:extLst>
              <a:ext uri="{FF2B5EF4-FFF2-40B4-BE49-F238E27FC236}">
                <a16:creationId xmlns:a16="http://schemas.microsoft.com/office/drawing/2014/main" id="{81F65349-8800-4CAE-BC3D-4540356541DD}"/>
              </a:ext>
            </a:extLst>
          </p:cNvPr>
          <p:cNvSpPr/>
          <p:nvPr/>
        </p:nvSpPr>
        <p:spPr>
          <a:xfrm>
            <a:off x="-702821" y="1703923"/>
            <a:ext cx="138499" cy="138499"/>
          </a:xfrm>
          <a:prstGeom prst="ellipse">
            <a:avLst/>
          </a:prstGeom>
          <a:solidFill>
            <a:srgbClr val="808285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>
              <a:latin typeface="Arial" panose="020B0604020202020204" pitchFamily="34" charset="0"/>
            </a:endParaRPr>
          </a:p>
        </p:txBody>
      </p:sp>
      <p:sp>
        <p:nvSpPr>
          <p:cNvPr id="20" name="Grønn 1">
            <a:extLst>
              <a:ext uri="{FF2B5EF4-FFF2-40B4-BE49-F238E27FC236}">
                <a16:creationId xmlns:a16="http://schemas.microsoft.com/office/drawing/2014/main" id="{EB49F8A2-560F-48F7-BFD2-4AA08376FCC5}"/>
              </a:ext>
            </a:extLst>
          </p:cNvPr>
          <p:cNvSpPr/>
          <p:nvPr/>
        </p:nvSpPr>
        <p:spPr>
          <a:xfrm>
            <a:off x="-702821" y="2036278"/>
            <a:ext cx="138499" cy="138499"/>
          </a:xfrm>
          <a:prstGeom prst="ellipse">
            <a:avLst/>
          </a:prstGeom>
          <a:solidFill>
            <a:srgbClr val="000000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>
              <a:latin typeface="Arial" panose="020B0604020202020204" pitchFamily="34" charset="0"/>
            </a:endParaRPr>
          </a:p>
        </p:txBody>
      </p:sp>
      <p:sp>
        <p:nvSpPr>
          <p:cNvPr id="21" name="Grønn 1">
            <a:extLst>
              <a:ext uri="{FF2B5EF4-FFF2-40B4-BE49-F238E27FC236}">
                <a16:creationId xmlns:a16="http://schemas.microsoft.com/office/drawing/2014/main" id="{239581AC-B2F6-4D2B-81B2-1E0B2AC47DAA}"/>
              </a:ext>
            </a:extLst>
          </p:cNvPr>
          <p:cNvSpPr/>
          <p:nvPr/>
        </p:nvSpPr>
        <p:spPr>
          <a:xfrm>
            <a:off x="-1035008" y="710113"/>
            <a:ext cx="138499" cy="138499"/>
          </a:xfrm>
          <a:prstGeom prst="ellipse">
            <a:avLst/>
          </a:prstGeom>
          <a:solidFill>
            <a:srgbClr val="00467A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>
              <a:latin typeface="Arial" panose="020B0604020202020204" pitchFamily="34" charset="0"/>
            </a:endParaRPr>
          </a:p>
        </p:txBody>
      </p:sp>
      <p:sp>
        <p:nvSpPr>
          <p:cNvPr id="22" name="Grønn 1">
            <a:extLst>
              <a:ext uri="{FF2B5EF4-FFF2-40B4-BE49-F238E27FC236}">
                <a16:creationId xmlns:a16="http://schemas.microsoft.com/office/drawing/2014/main" id="{C362A776-CE21-4BA4-A381-9EC5627EC431}"/>
              </a:ext>
            </a:extLst>
          </p:cNvPr>
          <p:cNvSpPr/>
          <p:nvPr/>
        </p:nvSpPr>
        <p:spPr>
          <a:xfrm>
            <a:off x="-1035008" y="1042468"/>
            <a:ext cx="138499" cy="138499"/>
          </a:xfrm>
          <a:prstGeom prst="ellipse">
            <a:avLst/>
          </a:prstGeom>
          <a:solidFill>
            <a:srgbClr val="90DDFA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>
              <a:latin typeface="Arial" panose="020B0604020202020204" pitchFamily="34" charset="0"/>
            </a:endParaRPr>
          </a:p>
        </p:txBody>
      </p:sp>
      <p:sp>
        <p:nvSpPr>
          <p:cNvPr id="23" name="Grønn 1">
            <a:extLst>
              <a:ext uri="{FF2B5EF4-FFF2-40B4-BE49-F238E27FC236}">
                <a16:creationId xmlns:a16="http://schemas.microsoft.com/office/drawing/2014/main" id="{C979672C-C192-47AD-9285-0C7061D2E082}"/>
              </a:ext>
            </a:extLst>
          </p:cNvPr>
          <p:cNvSpPr/>
          <p:nvPr/>
        </p:nvSpPr>
        <p:spPr>
          <a:xfrm>
            <a:off x="-1033924" y="1374823"/>
            <a:ext cx="138499" cy="138499"/>
          </a:xfrm>
          <a:prstGeom prst="ellipse">
            <a:avLst/>
          </a:prstGeom>
          <a:solidFill>
            <a:srgbClr val="372770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>
              <a:latin typeface="Arial" panose="020B0604020202020204" pitchFamily="34" charset="0"/>
            </a:endParaRPr>
          </a:p>
        </p:txBody>
      </p:sp>
      <p:sp>
        <p:nvSpPr>
          <p:cNvPr id="24" name="Grønn 1">
            <a:extLst>
              <a:ext uri="{FF2B5EF4-FFF2-40B4-BE49-F238E27FC236}">
                <a16:creationId xmlns:a16="http://schemas.microsoft.com/office/drawing/2014/main" id="{0FAD4F61-A6A4-4523-B2CB-9D299B6909DF}"/>
              </a:ext>
            </a:extLst>
          </p:cNvPr>
          <p:cNvSpPr/>
          <p:nvPr/>
        </p:nvSpPr>
        <p:spPr>
          <a:xfrm>
            <a:off x="-1035008" y="1707178"/>
            <a:ext cx="138499" cy="138499"/>
          </a:xfrm>
          <a:prstGeom prst="ellipse">
            <a:avLst/>
          </a:prstGeom>
          <a:solidFill>
            <a:srgbClr val="C0A9FF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>
              <a:latin typeface="Arial" panose="020B0604020202020204" pitchFamily="34" charset="0"/>
            </a:endParaRPr>
          </a:p>
        </p:txBody>
      </p:sp>
      <p:sp>
        <p:nvSpPr>
          <p:cNvPr id="25" name="Grønn 1">
            <a:extLst>
              <a:ext uri="{FF2B5EF4-FFF2-40B4-BE49-F238E27FC236}">
                <a16:creationId xmlns:a16="http://schemas.microsoft.com/office/drawing/2014/main" id="{FD36EBBA-CE07-4BCA-A08D-53CD7CE7D376}"/>
              </a:ext>
            </a:extLst>
          </p:cNvPr>
          <p:cNvSpPr/>
          <p:nvPr/>
        </p:nvSpPr>
        <p:spPr>
          <a:xfrm>
            <a:off x="-1035008" y="2039533"/>
            <a:ext cx="138499" cy="138499"/>
          </a:xfrm>
          <a:prstGeom prst="ellipse">
            <a:avLst/>
          </a:prstGeom>
          <a:solidFill>
            <a:srgbClr val="6B1E27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>
              <a:latin typeface="Arial" panose="020B0604020202020204" pitchFamily="34" charset="0"/>
            </a:endParaRPr>
          </a:p>
        </p:txBody>
      </p:sp>
      <p:sp>
        <p:nvSpPr>
          <p:cNvPr id="26" name="Grønn 1">
            <a:extLst>
              <a:ext uri="{FF2B5EF4-FFF2-40B4-BE49-F238E27FC236}">
                <a16:creationId xmlns:a16="http://schemas.microsoft.com/office/drawing/2014/main" id="{EB901D64-1927-4160-A0A8-59B608E86501}"/>
              </a:ext>
            </a:extLst>
          </p:cNvPr>
          <p:cNvSpPr/>
          <p:nvPr/>
        </p:nvSpPr>
        <p:spPr>
          <a:xfrm>
            <a:off x="-1040266" y="2371888"/>
            <a:ext cx="138499" cy="138499"/>
          </a:xfrm>
          <a:prstGeom prst="ellipse">
            <a:avLst/>
          </a:prstGeom>
          <a:solidFill>
            <a:srgbClr val="D48282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>
              <a:latin typeface="Arial" panose="020B0604020202020204" pitchFamily="34" charset="0"/>
            </a:endParaRPr>
          </a:p>
        </p:txBody>
      </p:sp>
      <p:sp>
        <p:nvSpPr>
          <p:cNvPr id="27" name="Grønn 1">
            <a:extLst>
              <a:ext uri="{FF2B5EF4-FFF2-40B4-BE49-F238E27FC236}">
                <a16:creationId xmlns:a16="http://schemas.microsoft.com/office/drawing/2014/main" id="{0B017F2A-5D1A-46FE-800A-B72694B0689C}"/>
              </a:ext>
            </a:extLst>
          </p:cNvPr>
          <p:cNvSpPr/>
          <p:nvPr/>
        </p:nvSpPr>
        <p:spPr>
          <a:xfrm>
            <a:off x="-1040266" y="2704243"/>
            <a:ext cx="138499" cy="138499"/>
          </a:xfrm>
          <a:prstGeom prst="ellipse">
            <a:avLst/>
          </a:prstGeom>
          <a:solidFill>
            <a:srgbClr val="E85800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>
              <a:latin typeface="Arial" panose="020B0604020202020204" pitchFamily="34" charset="0"/>
            </a:endParaRPr>
          </a:p>
        </p:txBody>
      </p:sp>
      <p:sp>
        <p:nvSpPr>
          <p:cNvPr id="28" name="Grønn 1">
            <a:extLst>
              <a:ext uri="{FF2B5EF4-FFF2-40B4-BE49-F238E27FC236}">
                <a16:creationId xmlns:a16="http://schemas.microsoft.com/office/drawing/2014/main" id="{F6DF0041-4055-4496-B757-733E74CF3BE1}"/>
              </a:ext>
            </a:extLst>
          </p:cNvPr>
          <p:cNvSpPr/>
          <p:nvPr/>
        </p:nvSpPr>
        <p:spPr>
          <a:xfrm>
            <a:off x="-1040266" y="3036600"/>
            <a:ext cx="138499" cy="138499"/>
          </a:xfrm>
          <a:prstGeom prst="ellipse">
            <a:avLst/>
          </a:prstGeom>
          <a:solidFill>
            <a:srgbClr val="FFC46B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>
              <a:latin typeface="Arial" panose="020B0604020202020204" pitchFamily="34" charset="0"/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0C025540-C002-4446-831C-D627E267429C}"/>
              </a:ext>
            </a:extLst>
          </p:cNvPr>
          <p:cNvSpPr txBox="1"/>
          <p:nvPr/>
        </p:nvSpPr>
        <p:spPr>
          <a:xfrm rot="16200000">
            <a:off x="-445313" y="289773"/>
            <a:ext cx="410369" cy="138499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pPr algn="l"/>
            <a:r>
              <a:rPr lang="nb-NO">
                <a:solidFill>
                  <a:schemeClr val="tx1"/>
                </a:solidFill>
                <a:latin typeface="Arial" panose="020B0604020202020204" pitchFamily="34" charset="0"/>
              </a:rPr>
              <a:t>Identitet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AD60AC7B-B9C1-439F-A9DF-11EE9D406F42}"/>
              </a:ext>
            </a:extLst>
          </p:cNvPr>
          <p:cNvSpPr txBox="1"/>
          <p:nvPr/>
        </p:nvSpPr>
        <p:spPr>
          <a:xfrm rot="16200000">
            <a:off x="-864404" y="264125"/>
            <a:ext cx="461665" cy="138499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pPr algn="l"/>
            <a:r>
              <a:rPr lang="nb-NO">
                <a:solidFill>
                  <a:schemeClr val="tx1"/>
                </a:solidFill>
                <a:latin typeface="Arial" panose="020B0604020202020204" pitchFamily="34" charset="0"/>
              </a:rPr>
              <a:t>Gråskala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B03C8BEA-A766-4FD8-8465-5EEB1440876F}"/>
              </a:ext>
            </a:extLst>
          </p:cNvPr>
          <p:cNvSpPr txBox="1"/>
          <p:nvPr/>
        </p:nvSpPr>
        <p:spPr>
          <a:xfrm rot="16200000">
            <a:off x="-1119647" y="341069"/>
            <a:ext cx="307777" cy="138499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pPr algn="l"/>
            <a:r>
              <a:rPr lang="nb-NO">
                <a:solidFill>
                  <a:schemeClr val="tx1"/>
                </a:solidFill>
                <a:latin typeface="Arial" panose="020B0604020202020204" pitchFamily="34" charset="0"/>
              </a:rPr>
              <a:t>Støtte</a:t>
            </a:r>
          </a:p>
        </p:txBody>
      </p:sp>
    </p:spTree>
    <p:extLst>
      <p:ext uri="{BB962C8B-B14F-4D97-AF65-F5344CB8AC3E}">
        <p14:creationId xmlns:p14="http://schemas.microsoft.com/office/powerpoint/2010/main" val="459439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3" r:id="rId1"/>
    <p:sldLayoutId id="2147483741" r:id="rId2"/>
    <p:sldLayoutId id="2147483731" r:id="rId3"/>
    <p:sldLayoutId id="2147483747" r:id="rId4"/>
    <p:sldLayoutId id="2147483716" r:id="rId5"/>
    <p:sldLayoutId id="2147483718" r:id="rId6"/>
    <p:sldLayoutId id="2147483721" r:id="rId7"/>
    <p:sldLayoutId id="2147483722" r:id="rId8"/>
    <p:sldLayoutId id="2147483723" r:id="rId9"/>
    <p:sldLayoutId id="2147483724" r:id="rId10"/>
    <p:sldLayoutId id="2147483742" r:id="rId11"/>
    <p:sldLayoutId id="2147483729" r:id="rId12"/>
    <p:sldLayoutId id="2147483749" r:id="rId13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/>
  <p:txStyles>
    <p:titleStyle>
      <a:lvl1pPr algn="l" defTabSz="914446" rtl="0" eaLnBrk="1" latinLnBrk="0" hangingPunct="1">
        <a:lnSpc>
          <a:spcPct val="90000"/>
        </a:lnSpc>
        <a:spcBef>
          <a:spcPct val="0"/>
        </a:spcBef>
        <a:buNone/>
        <a:defRPr sz="400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914446" rtl="0" eaLnBrk="1" latinLnBrk="0" hangingPunct="1">
        <a:lnSpc>
          <a:spcPct val="120000"/>
        </a:lnSpc>
        <a:spcBef>
          <a:spcPts val="9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34" indent="-228611" algn="l" defTabSz="914446" rtl="0" eaLnBrk="1" latinLnBrk="0" hangingPunct="1">
        <a:lnSpc>
          <a:spcPct val="12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57" indent="-228611" algn="l" defTabSz="914446" rtl="0" eaLnBrk="1" latinLnBrk="0" hangingPunct="1">
        <a:lnSpc>
          <a:spcPct val="12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80" indent="-228611" algn="l" defTabSz="914446" rtl="0" eaLnBrk="1" latinLnBrk="0" hangingPunct="1">
        <a:lnSpc>
          <a:spcPct val="12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503" indent="-228611" algn="l" defTabSz="914446" rtl="0" eaLnBrk="1" latinLnBrk="0" hangingPunct="1">
        <a:lnSpc>
          <a:spcPct val="12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726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948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171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394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23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46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69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91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114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337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560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783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0" userDrawn="1">
          <p15:clr>
            <a:srgbClr val="F26B43"/>
          </p15:clr>
        </p15:guide>
        <p15:guide id="2" pos="211" userDrawn="1">
          <p15:clr>
            <a:srgbClr val="F26B43"/>
          </p15:clr>
        </p15:guide>
        <p15:guide id="3" orient="horz" pos="4110" userDrawn="1">
          <p15:clr>
            <a:srgbClr val="F26B43"/>
          </p15:clr>
        </p15:guide>
        <p15:guide id="4" pos="7469" userDrawn="1">
          <p15:clr>
            <a:srgbClr val="F26B43"/>
          </p15:clr>
        </p15:guide>
        <p15:guide id="5" orient="horz" pos="482" userDrawn="1">
          <p15:clr>
            <a:srgbClr val="F26B43"/>
          </p15:clr>
        </p15:guide>
        <p15:guide id="6" pos="2683" userDrawn="1">
          <p15:clr>
            <a:srgbClr val="F26B43"/>
          </p15:clr>
        </p15:guide>
        <p15:guide id="7" pos="2547" userDrawn="1">
          <p15:clr>
            <a:srgbClr val="F26B43"/>
          </p15:clr>
        </p15:guide>
        <p15:guide id="8" pos="4997" userDrawn="1">
          <p15:clr>
            <a:srgbClr val="F26B43"/>
          </p15:clr>
        </p15:guide>
        <p15:guide id="9" pos="5133" userDrawn="1">
          <p15:clr>
            <a:srgbClr val="F26B43"/>
          </p15:clr>
        </p15:guide>
        <p15:guide id="10" orient="horz" pos="845" userDrawn="1">
          <p15:clr>
            <a:srgbClr val="F26B43"/>
          </p15:clr>
        </p15:guide>
        <p15:guide id="11" orient="horz" pos="1207" userDrawn="1">
          <p15:clr>
            <a:srgbClr val="F26B43"/>
          </p15:clr>
        </p15:guide>
        <p15:guide id="12" orient="horz" pos="3748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8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B32BFC86-FB65-40DE-B69A-E0554F25603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34963" y="1263317"/>
            <a:ext cx="10541584" cy="1993591"/>
          </a:xfrm>
        </p:spPr>
        <p:txBody>
          <a:bodyPr/>
          <a:lstStyle/>
          <a:p>
            <a:r>
              <a:rPr lang="nb-NO" sz="6000" dirty="0">
                <a:latin typeface="-apple-system"/>
              </a:rPr>
              <a:t>Pasientens måledata – PMD</a:t>
            </a:r>
            <a:br>
              <a:rPr lang="nb-NO" sz="6000" dirty="0">
                <a:latin typeface="-apple-system"/>
              </a:rPr>
            </a:br>
            <a:br>
              <a:rPr lang="nb-NO" sz="6000" dirty="0">
                <a:latin typeface="-apple-system"/>
              </a:rPr>
            </a:br>
            <a:r>
              <a:rPr lang="nb-NO" sz="2400" dirty="0">
                <a:latin typeface="-apple-system"/>
              </a:rPr>
              <a:t>En oppfølger til Pasientens prøvesvar?</a:t>
            </a:r>
            <a:endParaRPr lang="nb-NO" sz="6000" dirty="0">
              <a:latin typeface="-apple-system"/>
            </a:endParaRPr>
          </a:p>
        </p:txBody>
      </p:sp>
      <p:sp>
        <p:nvSpPr>
          <p:cNvPr id="2" name="Undertittel 1">
            <a:extLst>
              <a:ext uri="{FF2B5EF4-FFF2-40B4-BE49-F238E27FC236}">
                <a16:creationId xmlns:a16="http://schemas.microsoft.com/office/drawing/2014/main" id="{9875A323-F6DC-4830-A22C-8562C0DCDE9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50952" y="3861995"/>
            <a:ext cx="8746836" cy="330071"/>
          </a:xfrm>
        </p:spPr>
        <p:txBody>
          <a:bodyPr/>
          <a:lstStyle/>
          <a:p>
            <a:r>
              <a:rPr lang="nb-NO" dirty="0"/>
              <a:t>Tjeneste for innsamling og deling av målinger i regi av </a:t>
            </a:r>
            <a:r>
              <a:rPr lang="nb-NO" dirty="0">
                <a:solidFill>
                  <a:schemeClr val="tx1"/>
                </a:solidFill>
              </a:rPr>
              <a:t>Velferdsteknologisk knutepunkt (VKP)</a:t>
            </a:r>
          </a:p>
        </p:txBody>
      </p:sp>
    </p:spTree>
    <p:extLst>
      <p:ext uri="{BB962C8B-B14F-4D97-AF65-F5344CB8AC3E}">
        <p14:creationId xmlns:p14="http://schemas.microsoft.com/office/powerpoint/2010/main" val="34408917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tel 3">
            <a:extLst>
              <a:ext uri="{FF2B5EF4-FFF2-40B4-BE49-F238E27FC236}">
                <a16:creationId xmlns:a16="http://schemas.microsoft.com/office/drawing/2014/main" id="{66E275BF-ABE2-4B2D-8144-69BD1760648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Samle inn og tilgjengeliggjøre svarrapporter</a:t>
            </a:r>
          </a:p>
        </p:txBody>
      </p:sp>
      <p:sp>
        <p:nvSpPr>
          <p:cNvPr id="2" name="Rektangel: avrundede hjørner 1">
            <a:extLst>
              <a:ext uri="{FF2B5EF4-FFF2-40B4-BE49-F238E27FC236}">
                <a16:creationId xmlns:a16="http://schemas.microsoft.com/office/drawing/2014/main" id="{C6F1963A-CEA4-4B72-995D-1F3C45B04934}"/>
              </a:ext>
            </a:extLst>
          </p:cNvPr>
          <p:cNvSpPr/>
          <p:nvPr/>
        </p:nvSpPr>
        <p:spPr>
          <a:xfrm>
            <a:off x="770561" y="2571108"/>
            <a:ext cx="2152740" cy="914400"/>
          </a:xfrm>
          <a:prstGeom prst="round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nb-NO" sz="2000" dirty="0"/>
              <a:t>Utstyr – hjemme hos pasient</a:t>
            </a:r>
          </a:p>
        </p:txBody>
      </p:sp>
      <p:sp>
        <p:nvSpPr>
          <p:cNvPr id="8" name="Rektangel: avrundede hjørner 7">
            <a:extLst>
              <a:ext uri="{FF2B5EF4-FFF2-40B4-BE49-F238E27FC236}">
                <a16:creationId xmlns:a16="http://schemas.microsoft.com/office/drawing/2014/main" id="{1EA6BF71-EA9D-4B8B-885E-6DC7B8BDFF5D}"/>
              </a:ext>
            </a:extLst>
          </p:cNvPr>
          <p:cNvSpPr/>
          <p:nvPr/>
        </p:nvSpPr>
        <p:spPr>
          <a:xfrm>
            <a:off x="6686763" y="5506758"/>
            <a:ext cx="1982913" cy="914400"/>
          </a:xfrm>
          <a:prstGeom prst="round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nb-NO" sz="4000" dirty="0"/>
              <a:t>PMD</a:t>
            </a:r>
          </a:p>
        </p:txBody>
      </p:sp>
      <p:sp>
        <p:nvSpPr>
          <p:cNvPr id="9" name="Rektangel: avrundede hjørner 8">
            <a:extLst>
              <a:ext uri="{FF2B5EF4-FFF2-40B4-BE49-F238E27FC236}">
                <a16:creationId xmlns:a16="http://schemas.microsoft.com/office/drawing/2014/main" id="{EEF7E4FE-9F17-4C31-BB8C-92053C7F5617}"/>
              </a:ext>
            </a:extLst>
          </p:cNvPr>
          <p:cNvSpPr/>
          <p:nvPr/>
        </p:nvSpPr>
        <p:spPr>
          <a:xfrm>
            <a:off x="4161035" y="2553508"/>
            <a:ext cx="1982913" cy="914400"/>
          </a:xfrm>
          <a:prstGeom prst="round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2000" dirty="0"/>
              <a:t>VKP</a:t>
            </a:r>
          </a:p>
        </p:txBody>
      </p:sp>
      <p:sp>
        <p:nvSpPr>
          <p:cNvPr id="10" name="Rektangel: avrundede hjørner 9">
            <a:extLst>
              <a:ext uri="{FF2B5EF4-FFF2-40B4-BE49-F238E27FC236}">
                <a16:creationId xmlns:a16="http://schemas.microsoft.com/office/drawing/2014/main" id="{AE7067C6-3C10-431E-901B-7DD30BE58115}"/>
              </a:ext>
            </a:extLst>
          </p:cNvPr>
          <p:cNvSpPr/>
          <p:nvPr/>
        </p:nvSpPr>
        <p:spPr>
          <a:xfrm>
            <a:off x="8669676" y="2495365"/>
            <a:ext cx="1982913" cy="914400"/>
          </a:xfrm>
          <a:prstGeom prst="round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2000" dirty="0"/>
              <a:t>EPJ</a:t>
            </a:r>
          </a:p>
        </p:txBody>
      </p:sp>
      <p:sp>
        <p:nvSpPr>
          <p:cNvPr id="11" name="Magnetplate 10">
            <a:extLst>
              <a:ext uri="{FF2B5EF4-FFF2-40B4-BE49-F238E27FC236}">
                <a16:creationId xmlns:a16="http://schemas.microsoft.com/office/drawing/2014/main" id="{3FC7ACB9-8151-4FE1-8B04-40BA50E62C96}"/>
              </a:ext>
            </a:extLst>
          </p:cNvPr>
          <p:cNvSpPr/>
          <p:nvPr/>
        </p:nvSpPr>
        <p:spPr>
          <a:xfrm>
            <a:off x="4373531" y="5439976"/>
            <a:ext cx="1530848" cy="1047964"/>
          </a:xfrm>
          <a:prstGeom prst="flowChartMagneticDisk">
            <a:avLst/>
          </a:prstGeom>
          <a:solidFill>
            <a:srgbClr val="00B0F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nb-NO" sz="2000" dirty="0"/>
          </a:p>
        </p:txBody>
      </p:sp>
      <p:cxnSp>
        <p:nvCxnSpPr>
          <p:cNvPr id="13" name="Rett pilkobling 12">
            <a:extLst>
              <a:ext uri="{FF2B5EF4-FFF2-40B4-BE49-F238E27FC236}">
                <a16:creationId xmlns:a16="http://schemas.microsoft.com/office/drawing/2014/main" id="{922A2384-757A-4430-8C92-09F6B9ED3DD9}"/>
              </a:ext>
            </a:extLst>
          </p:cNvPr>
          <p:cNvCxnSpPr>
            <a:cxnSpLocks/>
            <a:stCxn id="2" idx="3"/>
            <a:endCxn id="9" idx="1"/>
          </p:cNvCxnSpPr>
          <p:nvPr/>
        </p:nvCxnSpPr>
        <p:spPr>
          <a:xfrm flipV="1">
            <a:off x="2923301" y="3010708"/>
            <a:ext cx="1237734" cy="1760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Rett pilkobling 14">
            <a:extLst>
              <a:ext uri="{FF2B5EF4-FFF2-40B4-BE49-F238E27FC236}">
                <a16:creationId xmlns:a16="http://schemas.microsoft.com/office/drawing/2014/main" id="{4A36860E-EE72-4EB2-A10B-03AC41097D03}"/>
              </a:ext>
            </a:extLst>
          </p:cNvPr>
          <p:cNvCxnSpPr>
            <a:cxnSpLocks/>
            <a:stCxn id="9" idx="3"/>
            <a:endCxn id="10" idx="1"/>
          </p:cNvCxnSpPr>
          <p:nvPr/>
        </p:nvCxnSpPr>
        <p:spPr>
          <a:xfrm flipV="1">
            <a:off x="6143948" y="2952565"/>
            <a:ext cx="2525728" cy="5814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Rett pilkobling 20">
            <a:extLst>
              <a:ext uri="{FF2B5EF4-FFF2-40B4-BE49-F238E27FC236}">
                <a16:creationId xmlns:a16="http://schemas.microsoft.com/office/drawing/2014/main" id="{2824E378-DBF2-478A-99FE-CA4DC402FF6D}"/>
              </a:ext>
            </a:extLst>
          </p:cNvPr>
          <p:cNvCxnSpPr>
            <a:cxnSpLocks/>
            <a:stCxn id="9" idx="2"/>
            <a:endCxn id="11" idx="1"/>
          </p:cNvCxnSpPr>
          <p:nvPr/>
        </p:nvCxnSpPr>
        <p:spPr>
          <a:xfrm flipH="1">
            <a:off x="5138955" y="3467908"/>
            <a:ext cx="13537" cy="1972068"/>
          </a:xfrm>
          <a:prstGeom prst="straightConnector1">
            <a:avLst/>
          </a:prstGeom>
          <a:ln>
            <a:solidFill>
              <a:srgbClr val="00B0F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kstSylinder 23">
            <a:extLst>
              <a:ext uri="{FF2B5EF4-FFF2-40B4-BE49-F238E27FC236}">
                <a16:creationId xmlns:a16="http://schemas.microsoft.com/office/drawing/2014/main" id="{6E6EAD5C-38D1-4815-823E-26D17B60BB31}"/>
              </a:ext>
            </a:extLst>
          </p:cNvPr>
          <p:cNvSpPr txBox="1"/>
          <p:nvPr/>
        </p:nvSpPr>
        <p:spPr>
          <a:xfrm>
            <a:off x="3097981" y="3626573"/>
            <a:ext cx="421910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 dirty="0"/>
              <a:t>XML</a:t>
            </a:r>
          </a:p>
        </p:txBody>
      </p:sp>
      <p:cxnSp>
        <p:nvCxnSpPr>
          <p:cNvPr id="25" name="Rett pilkobling 24">
            <a:extLst>
              <a:ext uri="{FF2B5EF4-FFF2-40B4-BE49-F238E27FC236}">
                <a16:creationId xmlns:a16="http://schemas.microsoft.com/office/drawing/2014/main" id="{911616A4-671D-4F5E-A277-E463DD674FD9}"/>
              </a:ext>
            </a:extLst>
          </p:cNvPr>
          <p:cNvCxnSpPr>
            <a:cxnSpLocks/>
            <a:stCxn id="11" idx="4"/>
            <a:endCxn id="8" idx="1"/>
          </p:cNvCxnSpPr>
          <p:nvPr/>
        </p:nvCxnSpPr>
        <p:spPr>
          <a:xfrm>
            <a:off x="5904379" y="5963958"/>
            <a:ext cx="782384" cy="0"/>
          </a:xfrm>
          <a:prstGeom prst="straightConnector1">
            <a:avLst/>
          </a:prstGeom>
          <a:ln>
            <a:solidFill>
              <a:srgbClr val="00B0F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Rektangel: avrundede hjørner 29">
            <a:extLst>
              <a:ext uri="{FF2B5EF4-FFF2-40B4-BE49-F238E27FC236}">
                <a16:creationId xmlns:a16="http://schemas.microsoft.com/office/drawing/2014/main" id="{F040A6BC-1451-4DA8-A555-B09AAF08FA15}"/>
              </a:ext>
            </a:extLst>
          </p:cNvPr>
          <p:cNvSpPr/>
          <p:nvPr/>
        </p:nvSpPr>
        <p:spPr>
          <a:xfrm>
            <a:off x="9661130" y="5144756"/>
            <a:ext cx="1982913" cy="642271"/>
          </a:xfrm>
          <a:prstGeom prst="round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nb-NO" sz="2000" dirty="0"/>
              <a:t>EPJ</a:t>
            </a:r>
          </a:p>
        </p:txBody>
      </p:sp>
      <p:sp>
        <p:nvSpPr>
          <p:cNvPr id="31" name="Rektangel: avrundede hjørner 30">
            <a:extLst>
              <a:ext uri="{FF2B5EF4-FFF2-40B4-BE49-F238E27FC236}">
                <a16:creationId xmlns:a16="http://schemas.microsoft.com/office/drawing/2014/main" id="{3EE99608-633B-4F82-831F-2B8904F9C6C7}"/>
              </a:ext>
            </a:extLst>
          </p:cNvPr>
          <p:cNvSpPr/>
          <p:nvPr/>
        </p:nvSpPr>
        <p:spPr>
          <a:xfrm>
            <a:off x="9661131" y="5894302"/>
            <a:ext cx="1982913" cy="642271"/>
          </a:xfrm>
          <a:prstGeom prst="round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nb-NO" sz="2000" dirty="0" err="1"/>
              <a:t>Helsenorge</a:t>
            </a:r>
            <a:endParaRPr lang="nb-NO" sz="2000" dirty="0"/>
          </a:p>
        </p:txBody>
      </p:sp>
      <p:cxnSp>
        <p:nvCxnSpPr>
          <p:cNvPr id="36" name="Rett pilkobling 35">
            <a:extLst>
              <a:ext uri="{FF2B5EF4-FFF2-40B4-BE49-F238E27FC236}">
                <a16:creationId xmlns:a16="http://schemas.microsoft.com/office/drawing/2014/main" id="{CB91D78B-9FF1-42AA-ADFF-B36EF294C3EB}"/>
              </a:ext>
            </a:extLst>
          </p:cNvPr>
          <p:cNvCxnSpPr>
            <a:cxnSpLocks/>
            <a:stCxn id="8" idx="3"/>
            <a:endCxn id="30" idx="1"/>
          </p:cNvCxnSpPr>
          <p:nvPr/>
        </p:nvCxnSpPr>
        <p:spPr>
          <a:xfrm flipV="1">
            <a:off x="8669676" y="5465892"/>
            <a:ext cx="991454" cy="498066"/>
          </a:xfrm>
          <a:prstGeom prst="straightConnector1">
            <a:avLst/>
          </a:prstGeom>
          <a:ln>
            <a:solidFill>
              <a:srgbClr val="00B0F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Rett pilkobling 36">
            <a:extLst>
              <a:ext uri="{FF2B5EF4-FFF2-40B4-BE49-F238E27FC236}">
                <a16:creationId xmlns:a16="http://schemas.microsoft.com/office/drawing/2014/main" id="{4C521B8B-D7B7-4C3F-B2D3-9435BB4F8F32}"/>
              </a:ext>
            </a:extLst>
          </p:cNvPr>
          <p:cNvCxnSpPr>
            <a:cxnSpLocks/>
            <a:stCxn id="8" idx="3"/>
            <a:endCxn id="31" idx="1"/>
          </p:cNvCxnSpPr>
          <p:nvPr/>
        </p:nvCxnSpPr>
        <p:spPr>
          <a:xfrm>
            <a:off x="8669676" y="5963958"/>
            <a:ext cx="991455" cy="251480"/>
          </a:xfrm>
          <a:prstGeom prst="straightConnector1">
            <a:avLst/>
          </a:prstGeom>
          <a:ln>
            <a:solidFill>
              <a:srgbClr val="00B0F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TekstSylinder 41">
            <a:extLst>
              <a:ext uri="{FF2B5EF4-FFF2-40B4-BE49-F238E27FC236}">
                <a16:creationId xmlns:a16="http://schemas.microsoft.com/office/drawing/2014/main" id="{2A900C63-7124-441E-9327-8C72F4C3FDC6}"/>
              </a:ext>
            </a:extLst>
          </p:cNvPr>
          <p:cNvSpPr txBox="1"/>
          <p:nvPr/>
        </p:nvSpPr>
        <p:spPr>
          <a:xfrm>
            <a:off x="8971544" y="5020855"/>
            <a:ext cx="383438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 dirty="0"/>
              <a:t>Fhir</a:t>
            </a:r>
          </a:p>
        </p:txBody>
      </p:sp>
      <p:sp>
        <p:nvSpPr>
          <p:cNvPr id="44" name="Rektangel: avrundede hjørner 43">
            <a:extLst>
              <a:ext uri="{FF2B5EF4-FFF2-40B4-BE49-F238E27FC236}">
                <a16:creationId xmlns:a16="http://schemas.microsoft.com/office/drawing/2014/main" id="{94A5C677-12AD-4791-8A15-63AE66FD7D1B}"/>
              </a:ext>
            </a:extLst>
          </p:cNvPr>
          <p:cNvSpPr/>
          <p:nvPr/>
        </p:nvSpPr>
        <p:spPr>
          <a:xfrm>
            <a:off x="9656851" y="4395209"/>
            <a:ext cx="1982913" cy="642272"/>
          </a:xfrm>
          <a:prstGeom prst="round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nb-NO" sz="2000" dirty="0"/>
              <a:t>Kjernejournal</a:t>
            </a:r>
          </a:p>
        </p:txBody>
      </p:sp>
      <p:cxnSp>
        <p:nvCxnSpPr>
          <p:cNvPr id="48" name="Rett pilkobling 47">
            <a:extLst>
              <a:ext uri="{FF2B5EF4-FFF2-40B4-BE49-F238E27FC236}">
                <a16:creationId xmlns:a16="http://schemas.microsoft.com/office/drawing/2014/main" id="{460046C3-E4C3-4348-9E8A-470F889BCBA9}"/>
              </a:ext>
            </a:extLst>
          </p:cNvPr>
          <p:cNvCxnSpPr>
            <a:cxnSpLocks/>
            <a:stCxn id="8" idx="3"/>
            <a:endCxn id="44" idx="1"/>
          </p:cNvCxnSpPr>
          <p:nvPr/>
        </p:nvCxnSpPr>
        <p:spPr>
          <a:xfrm flipV="1">
            <a:off x="8669676" y="4716345"/>
            <a:ext cx="987175" cy="1247613"/>
          </a:xfrm>
          <a:prstGeom prst="straightConnector1">
            <a:avLst/>
          </a:prstGeom>
          <a:ln>
            <a:solidFill>
              <a:srgbClr val="00B0F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kstSylinder 17">
            <a:extLst>
              <a:ext uri="{FF2B5EF4-FFF2-40B4-BE49-F238E27FC236}">
                <a16:creationId xmlns:a16="http://schemas.microsoft.com/office/drawing/2014/main" id="{59FD637D-A8D2-201D-59D4-2BE24EE80C7A}"/>
              </a:ext>
            </a:extLst>
          </p:cNvPr>
          <p:cNvSpPr txBox="1"/>
          <p:nvPr/>
        </p:nvSpPr>
        <p:spPr>
          <a:xfrm>
            <a:off x="5152491" y="4453942"/>
            <a:ext cx="383438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 dirty="0"/>
              <a:t>Fhir</a:t>
            </a:r>
          </a:p>
        </p:txBody>
      </p:sp>
      <p:sp>
        <p:nvSpPr>
          <p:cNvPr id="27" name="Rektangel: avrundede hjørner 26">
            <a:extLst>
              <a:ext uri="{FF2B5EF4-FFF2-40B4-BE49-F238E27FC236}">
                <a16:creationId xmlns:a16="http://schemas.microsoft.com/office/drawing/2014/main" id="{DAF79AA3-692D-C320-A8B3-9733F8FFC4AF}"/>
              </a:ext>
            </a:extLst>
          </p:cNvPr>
          <p:cNvSpPr/>
          <p:nvPr/>
        </p:nvSpPr>
        <p:spPr>
          <a:xfrm>
            <a:off x="9066974" y="3664472"/>
            <a:ext cx="2900728" cy="642272"/>
          </a:xfrm>
          <a:prstGeom prst="round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nb-NO" sz="2000" dirty="0"/>
              <a:t>Kommunehelsetjeneste</a:t>
            </a:r>
          </a:p>
        </p:txBody>
      </p:sp>
      <p:cxnSp>
        <p:nvCxnSpPr>
          <p:cNvPr id="28" name="Rett pilkobling 27">
            <a:extLst>
              <a:ext uri="{FF2B5EF4-FFF2-40B4-BE49-F238E27FC236}">
                <a16:creationId xmlns:a16="http://schemas.microsoft.com/office/drawing/2014/main" id="{A03497D9-9FEE-5260-FB00-4EBA4BDA89DC}"/>
              </a:ext>
            </a:extLst>
          </p:cNvPr>
          <p:cNvCxnSpPr>
            <a:cxnSpLocks/>
            <a:stCxn id="8" idx="3"/>
            <a:endCxn id="27" idx="1"/>
          </p:cNvCxnSpPr>
          <p:nvPr/>
        </p:nvCxnSpPr>
        <p:spPr>
          <a:xfrm flipV="1">
            <a:off x="8669676" y="3985608"/>
            <a:ext cx="397298" cy="1978350"/>
          </a:xfrm>
          <a:prstGeom prst="straightConnector1">
            <a:avLst/>
          </a:prstGeom>
          <a:ln>
            <a:solidFill>
              <a:srgbClr val="00B0F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37094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tekst 2">
            <a:extLst>
              <a:ext uri="{FF2B5EF4-FFF2-40B4-BE49-F238E27FC236}">
                <a16:creationId xmlns:a16="http://schemas.microsoft.com/office/drawing/2014/main" id="{5F352EF9-4CC6-4686-A232-E64572C341A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34964" y="1970197"/>
            <a:ext cx="11522074" cy="4554429"/>
          </a:xfrm>
        </p:spPr>
        <p:txBody>
          <a:bodyPr/>
          <a:lstStyle/>
          <a:p>
            <a:r>
              <a:rPr lang="nb-NO" sz="2800" dirty="0"/>
              <a:t>Innkommende data</a:t>
            </a:r>
          </a:p>
          <a:p>
            <a:pPr lvl="1"/>
            <a:r>
              <a:rPr lang="nb-NO" sz="2800" dirty="0"/>
              <a:t>Digital </a:t>
            </a:r>
            <a:r>
              <a:rPr lang="nb-NO" sz="2800" dirty="0" err="1"/>
              <a:t>hjemmeoppfølging</a:t>
            </a:r>
            <a:r>
              <a:rPr lang="nb-NO" sz="2800" dirty="0"/>
              <a:t> – målinger utført av pasienten selv</a:t>
            </a:r>
          </a:p>
          <a:p>
            <a:pPr lvl="1"/>
            <a:r>
              <a:rPr lang="nb-NO" sz="2800" dirty="0"/>
              <a:t>Kan være aktuelt med tilsvarende målinger fra fastleger, sykehus, kommunehelsetjeneste etc.</a:t>
            </a:r>
          </a:p>
          <a:p>
            <a:r>
              <a:rPr lang="nb-NO" sz="2800" dirty="0"/>
              <a:t>Tilgjengeliggjøring</a:t>
            </a:r>
          </a:p>
          <a:p>
            <a:pPr lvl="1"/>
            <a:r>
              <a:rPr lang="nb-NO" sz="2800" dirty="0"/>
              <a:t>FHIR R4</a:t>
            </a:r>
          </a:p>
          <a:p>
            <a:pPr lvl="1"/>
            <a:r>
              <a:rPr lang="nb-NO" sz="2800" dirty="0"/>
              <a:t>Fastleger, kommunehelsetjeneste, sykehus</a:t>
            </a:r>
          </a:p>
        </p:txBody>
      </p:sp>
      <p:sp>
        <p:nvSpPr>
          <p:cNvPr id="4" name="Tittel 3">
            <a:extLst>
              <a:ext uri="{FF2B5EF4-FFF2-40B4-BE49-F238E27FC236}">
                <a16:creationId xmlns:a16="http://schemas.microsoft.com/office/drawing/2014/main" id="{66E275BF-ABE2-4B2D-8144-69BD1760648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Samle inn og tilgjengeliggjøre måledata</a:t>
            </a:r>
          </a:p>
        </p:txBody>
      </p:sp>
    </p:spTree>
    <p:extLst>
      <p:ext uri="{BB962C8B-B14F-4D97-AF65-F5344CB8AC3E}">
        <p14:creationId xmlns:p14="http://schemas.microsoft.com/office/powerpoint/2010/main" val="36625731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tekst 2">
            <a:extLst>
              <a:ext uri="{FF2B5EF4-FFF2-40B4-BE49-F238E27FC236}">
                <a16:creationId xmlns:a16="http://schemas.microsoft.com/office/drawing/2014/main" id="{1E7CF9FC-89AA-2ABD-BD9A-68DCF784A8B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34964" y="1473798"/>
            <a:ext cx="11522074" cy="5050828"/>
          </a:xfrm>
        </p:spPr>
        <p:txBody>
          <a:bodyPr/>
          <a:lstStyle/>
          <a:p>
            <a:r>
              <a:rPr lang="nb-NO" sz="3200" dirty="0"/>
              <a:t>Fhir</a:t>
            </a:r>
          </a:p>
          <a:p>
            <a:pPr lvl="1"/>
            <a:r>
              <a:rPr lang="nb-NO" sz="3200" dirty="0" err="1"/>
              <a:t>Observation</a:t>
            </a:r>
            <a:endParaRPr lang="nb-NO" sz="3200" dirty="0"/>
          </a:p>
          <a:p>
            <a:pPr lvl="1"/>
            <a:r>
              <a:rPr lang="nb-NO" sz="3200" dirty="0" err="1"/>
              <a:t>PractitionerRole</a:t>
            </a:r>
            <a:endParaRPr lang="nb-NO" sz="3200" dirty="0"/>
          </a:p>
          <a:p>
            <a:pPr lvl="2"/>
            <a:r>
              <a:rPr lang="nb-NO" sz="3200" dirty="0"/>
              <a:t>Organization: Kommune</a:t>
            </a:r>
          </a:p>
          <a:p>
            <a:pPr lvl="2"/>
            <a:r>
              <a:rPr lang="nb-NO" sz="3200" dirty="0" err="1"/>
              <a:t>Practitioner</a:t>
            </a:r>
            <a:r>
              <a:rPr lang="nb-NO" sz="3200" dirty="0"/>
              <a:t>: pasienten selv?</a:t>
            </a:r>
          </a:p>
        </p:txBody>
      </p:sp>
      <p:sp>
        <p:nvSpPr>
          <p:cNvPr id="4" name="Tittel 3">
            <a:extLst>
              <a:ext uri="{FF2B5EF4-FFF2-40B4-BE49-F238E27FC236}">
                <a16:creationId xmlns:a16="http://schemas.microsoft.com/office/drawing/2014/main" id="{1DD7E18B-6C82-E243-C3CD-B45EDB48A79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962" y="333374"/>
            <a:ext cx="11522075" cy="990496"/>
          </a:xfrm>
        </p:spPr>
        <p:txBody>
          <a:bodyPr/>
          <a:lstStyle/>
          <a:p>
            <a:r>
              <a:rPr lang="nb-NO" dirty="0"/>
              <a:t>Innkommende data</a:t>
            </a:r>
          </a:p>
        </p:txBody>
      </p:sp>
    </p:spTree>
    <p:extLst>
      <p:ext uri="{BB962C8B-B14F-4D97-AF65-F5344CB8AC3E}">
        <p14:creationId xmlns:p14="http://schemas.microsoft.com/office/powerpoint/2010/main" val="2015535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lassholder for tekst 6">
            <a:extLst>
              <a:ext uri="{FF2B5EF4-FFF2-40B4-BE49-F238E27FC236}">
                <a16:creationId xmlns:a16="http://schemas.microsoft.com/office/drawing/2014/main" id="{89D0CD27-A822-4165-A00D-152EBAB5F02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34964" y="1541124"/>
            <a:ext cx="11522074" cy="4983503"/>
          </a:xfrm>
        </p:spPr>
        <p:txBody>
          <a:bodyPr/>
          <a:lstStyle/>
          <a:p>
            <a:r>
              <a:rPr lang="nb-NO" sz="3200" dirty="0"/>
              <a:t>Velferdsteknologisk knutepunkt (VKP)</a:t>
            </a:r>
          </a:p>
          <a:p>
            <a:pPr lvl="1"/>
            <a:r>
              <a:rPr lang="nb-NO" sz="3200" dirty="0"/>
              <a:t>Lager egen/egne</a:t>
            </a:r>
          </a:p>
          <a:p>
            <a:pPr lvl="1"/>
            <a:r>
              <a:rPr lang="nb-NO" sz="3200" dirty="0"/>
              <a:t>Bruke nasjonale</a:t>
            </a:r>
          </a:p>
          <a:p>
            <a:pPr lvl="1"/>
            <a:endParaRPr lang="nb-NO" sz="3200" dirty="0"/>
          </a:p>
          <a:p>
            <a:r>
              <a:rPr lang="nb-NO" sz="3200" dirty="0"/>
              <a:t>Hypotese</a:t>
            </a:r>
          </a:p>
          <a:p>
            <a:pPr lvl="1"/>
            <a:r>
              <a:rPr lang="nb-NO" sz="3200" dirty="0"/>
              <a:t>Utdata bruker samme profiler som innkommende data</a:t>
            </a:r>
          </a:p>
        </p:txBody>
      </p:sp>
      <p:sp>
        <p:nvSpPr>
          <p:cNvPr id="4" name="Tittel 3">
            <a:extLst>
              <a:ext uri="{FF2B5EF4-FFF2-40B4-BE49-F238E27FC236}">
                <a16:creationId xmlns:a16="http://schemas.microsoft.com/office/drawing/2014/main" id="{F5635863-81E2-4D91-9905-879E561EC23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962" y="333373"/>
            <a:ext cx="11522075" cy="990496"/>
          </a:xfrm>
        </p:spPr>
        <p:txBody>
          <a:bodyPr/>
          <a:lstStyle/>
          <a:p>
            <a:r>
              <a:rPr lang="nb-NO" dirty="0"/>
              <a:t>Profilering</a:t>
            </a:r>
          </a:p>
        </p:txBody>
      </p:sp>
    </p:spTree>
    <p:extLst>
      <p:ext uri="{BB962C8B-B14F-4D97-AF65-F5344CB8AC3E}">
        <p14:creationId xmlns:p14="http://schemas.microsoft.com/office/powerpoint/2010/main" val="10240895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lassholder for tekst 6">
            <a:extLst>
              <a:ext uri="{FF2B5EF4-FFF2-40B4-BE49-F238E27FC236}">
                <a16:creationId xmlns:a16="http://schemas.microsoft.com/office/drawing/2014/main" id="{89D0CD27-A822-4165-A00D-152EBAB5F02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34964" y="1323870"/>
            <a:ext cx="11522074" cy="5200758"/>
          </a:xfrm>
        </p:spPr>
        <p:txBody>
          <a:bodyPr/>
          <a:lstStyle/>
          <a:p>
            <a:r>
              <a:rPr lang="nb-NO" sz="3200" dirty="0"/>
              <a:t>Data lagres på internt format (domenemodeller)</a:t>
            </a:r>
          </a:p>
          <a:p>
            <a:pPr lvl="1"/>
            <a:r>
              <a:rPr lang="nb-NO" sz="3200" dirty="0"/>
              <a:t>Preprosessering</a:t>
            </a:r>
          </a:p>
          <a:p>
            <a:pPr lvl="2"/>
            <a:r>
              <a:rPr lang="nb-NO" sz="3200" dirty="0" err="1"/>
              <a:t>Pseudonymingsering</a:t>
            </a:r>
            <a:endParaRPr lang="nb-NO" sz="3200" dirty="0"/>
          </a:p>
          <a:p>
            <a:pPr lvl="1"/>
            <a:r>
              <a:rPr lang="nb-NO" sz="3200" dirty="0"/>
              <a:t>Lagres i </a:t>
            </a:r>
            <a:r>
              <a:rPr lang="nb-NO" sz="3200" dirty="0" err="1"/>
              <a:t>MongoDb</a:t>
            </a:r>
            <a:endParaRPr lang="nb-NO" sz="3200" dirty="0"/>
          </a:p>
          <a:p>
            <a:r>
              <a:rPr lang="nb-NO" sz="3200" dirty="0"/>
              <a:t>Pakkes på etterspurt format ved utlevering</a:t>
            </a:r>
          </a:p>
          <a:p>
            <a:pPr lvl="1"/>
            <a:r>
              <a:rPr lang="nb-NO" sz="3200" dirty="0"/>
              <a:t>Fhir </a:t>
            </a:r>
            <a:r>
              <a:rPr lang="nb-NO" sz="3200" dirty="0" err="1"/>
              <a:t>X</a:t>
            </a:r>
            <a:endParaRPr lang="nb-NO" sz="3200" dirty="0"/>
          </a:p>
          <a:p>
            <a:pPr lvl="1"/>
            <a:r>
              <a:rPr lang="nb-NO" sz="3200" dirty="0"/>
              <a:t>Andre</a:t>
            </a:r>
          </a:p>
        </p:txBody>
      </p:sp>
      <p:sp>
        <p:nvSpPr>
          <p:cNvPr id="4" name="Tittel 3">
            <a:extLst>
              <a:ext uri="{FF2B5EF4-FFF2-40B4-BE49-F238E27FC236}">
                <a16:creationId xmlns:a16="http://schemas.microsoft.com/office/drawing/2014/main" id="{F5635863-81E2-4D91-9905-879E561EC23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962" y="333373"/>
            <a:ext cx="11522075" cy="990496"/>
          </a:xfrm>
        </p:spPr>
        <p:txBody>
          <a:bodyPr/>
          <a:lstStyle/>
          <a:p>
            <a:r>
              <a:rPr lang="nb-NO" dirty="0"/>
              <a:t>Teknologivalg</a:t>
            </a:r>
          </a:p>
        </p:txBody>
      </p:sp>
    </p:spTree>
    <p:extLst>
      <p:ext uri="{BB962C8B-B14F-4D97-AF65-F5344CB8AC3E}">
        <p14:creationId xmlns:p14="http://schemas.microsoft.com/office/powerpoint/2010/main" val="10125857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lassholder for tekst 6">
            <a:extLst>
              <a:ext uri="{FF2B5EF4-FFF2-40B4-BE49-F238E27FC236}">
                <a16:creationId xmlns:a16="http://schemas.microsoft.com/office/drawing/2014/main" id="{89D0CD27-A822-4165-A00D-152EBAB5F02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34963" y="1861073"/>
            <a:ext cx="11522074" cy="4663554"/>
          </a:xfrm>
        </p:spPr>
        <p:txBody>
          <a:bodyPr/>
          <a:lstStyle/>
          <a:p>
            <a:r>
              <a:rPr lang="nb-NO" sz="3200" dirty="0"/>
              <a:t>Ingen binding til spesifikk Fhir versjon eller andre eksterne modeller på persisterte data.</a:t>
            </a:r>
          </a:p>
          <a:p>
            <a:r>
              <a:rPr lang="nb-NO" sz="3200" dirty="0"/>
              <a:t>Alle data leveres ut med gjeldende profil/protokoll på tidspunkt for uthenting.</a:t>
            </a:r>
          </a:p>
          <a:p>
            <a:r>
              <a:rPr lang="nb-NO" sz="3200" dirty="0"/>
              <a:t>All intern logikk bygges rundt </a:t>
            </a:r>
            <a:r>
              <a:rPr lang="nb-NO" sz="3200"/>
              <a:t>interne datastrukturer.</a:t>
            </a:r>
            <a:endParaRPr lang="nb-NO" sz="3200" dirty="0"/>
          </a:p>
          <a:p>
            <a:endParaRPr lang="nb-NO" sz="3200" dirty="0"/>
          </a:p>
        </p:txBody>
      </p:sp>
      <p:sp>
        <p:nvSpPr>
          <p:cNvPr id="4" name="Tittel 3">
            <a:extLst>
              <a:ext uri="{FF2B5EF4-FFF2-40B4-BE49-F238E27FC236}">
                <a16:creationId xmlns:a16="http://schemas.microsoft.com/office/drawing/2014/main" id="{F5635863-81E2-4D91-9905-879E561EC23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962" y="333373"/>
            <a:ext cx="11522075" cy="990496"/>
          </a:xfrm>
        </p:spPr>
        <p:txBody>
          <a:bodyPr/>
          <a:lstStyle/>
          <a:p>
            <a:r>
              <a:rPr lang="nb-NO" dirty="0"/>
              <a:t>Teknologivalg</a:t>
            </a:r>
          </a:p>
        </p:txBody>
      </p:sp>
    </p:spTree>
    <p:extLst>
      <p:ext uri="{BB962C8B-B14F-4D97-AF65-F5344CB8AC3E}">
        <p14:creationId xmlns:p14="http://schemas.microsoft.com/office/powerpoint/2010/main" val="23216084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tel 3">
            <a:extLst>
              <a:ext uri="{FF2B5EF4-FFF2-40B4-BE49-F238E27FC236}">
                <a16:creationId xmlns:a16="http://schemas.microsoft.com/office/drawing/2014/main" id="{F5635863-81E2-4D91-9905-879E561EC23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962" y="333373"/>
            <a:ext cx="11522075" cy="990496"/>
          </a:xfrm>
        </p:spPr>
        <p:txBody>
          <a:bodyPr/>
          <a:lstStyle/>
          <a:p>
            <a:r>
              <a:rPr lang="nb-NO" dirty="0"/>
              <a:t>Arkitektur</a:t>
            </a:r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224A8351-4A43-9F85-FBDC-BC1D0E7CA50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60035" y="0"/>
            <a:ext cx="671195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7300586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lassholder for tekst 6">
            <a:extLst>
              <a:ext uri="{FF2B5EF4-FFF2-40B4-BE49-F238E27FC236}">
                <a16:creationId xmlns:a16="http://schemas.microsoft.com/office/drawing/2014/main" id="{89D0CD27-A822-4165-A00D-152EBAB5F02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34963" y="1430767"/>
            <a:ext cx="11522074" cy="5093860"/>
          </a:xfrm>
        </p:spPr>
        <p:txBody>
          <a:bodyPr/>
          <a:lstStyle/>
          <a:p>
            <a:r>
              <a:rPr lang="nb-NO" sz="3200" dirty="0"/>
              <a:t>Fhir database (Vonk m. fl.)</a:t>
            </a:r>
          </a:p>
          <a:p>
            <a:pPr lvl="1"/>
            <a:r>
              <a:rPr lang="nb-NO" sz="3200" dirty="0"/>
              <a:t>Blandede erfaringer med ytelse</a:t>
            </a:r>
          </a:p>
          <a:p>
            <a:pPr lvl="1"/>
            <a:r>
              <a:rPr lang="nb-NO" sz="3200" dirty="0"/>
              <a:t>Sterk låsing til innkommende format/versjon av data</a:t>
            </a:r>
          </a:p>
        </p:txBody>
      </p:sp>
      <p:sp>
        <p:nvSpPr>
          <p:cNvPr id="4" name="Tittel 3">
            <a:extLst>
              <a:ext uri="{FF2B5EF4-FFF2-40B4-BE49-F238E27FC236}">
                <a16:creationId xmlns:a16="http://schemas.microsoft.com/office/drawing/2014/main" id="{F5635863-81E2-4D91-9905-879E561EC23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962" y="333373"/>
            <a:ext cx="11522075" cy="990496"/>
          </a:xfrm>
        </p:spPr>
        <p:txBody>
          <a:bodyPr/>
          <a:lstStyle/>
          <a:p>
            <a:r>
              <a:rPr lang="nb-NO" dirty="0"/>
              <a:t>Teknologi(bort)valg</a:t>
            </a:r>
          </a:p>
        </p:txBody>
      </p:sp>
    </p:spTree>
    <p:extLst>
      <p:ext uri="{BB962C8B-B14F-4D97-AF65-F5344CB8AC3E}">
        <p14:creationId xmlns:p14="http://schemas.microsoft.com/office/powerpoint/2010/main" val="11239945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E8eMflXtuwKi.B7j.WTr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SoBpn2w6uwfjfFoTwAxNg"/>
</p:tagLst>
</file>

<file path=ppt/theme/theme1.xml><?xml version="1.0" encoding="utf-8"?>
<a:theme xmlns:a="http://schemas.openxmlformats.org/drawingml/2006/main" name="Norsk helsenett">
  <a:themeElements>
    <a:clrScheme name="Norsk Helsenett Mørk">
      <a:dk1>
        <a:srgbClr val="000000"/>
      </a:dk1>
      <a:lt1>
        <a:srgbClr val="FFFFFF"/>
      </a:lt1>
      <a:dk2>
        <a:srgbClr val="015945"/>
      </a:dk2>
      <a:lt2>
        <a:srgbClr val="7BEFB2"/>
      </a:lt2>
      <a:accent1>
        <a:srgbClr val="02A67F"/>
      </a:accent1>
      <a:accent2>
        <a:srgbClr val="C4F2DA"/>
      </a:accent2>
      <a:accent3>
        <a:srgbClr val="7BEFB2"/>
      </a:accent3>
      <a:accent4>
        <a:srgbClr val="24735F"/>
      </a:accent4>
      <a:accent5>
        <a:srgbClr val="C4F1DA"/>
      </a:accent5>
      <a:accent6>
        <a:srgbClr val="E85700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l">
          <a:defRPr sz="40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standard-powerpointmal" id="{09DEE76C-2313-4CD7-80CA-831B75408DB7}" vid="{AFE26FBB-175E-488A-9EA8-F1BEEFDBC258}"/>
    </a:ext>
  </a:extLst>
</a:theme>
</file>

<file path=ppt/theme/theme2.xml><?xml version="1.0" encoding="utf-8"?>
<a:theme xmlns:a="http://schemas.openxmlformats.org/drawingml/2006/main" name="Norsk helsenett (lys bakgrunn)">
  <a:themeElements>
    <a:clrScheme name="Norsk Helsenett Lys">
      <a:dk1>
        <a:srgbClr val="000000"/>
      </a:dk1>
      <a:lt1>
        <a:srgbClr val="FFFFFF"/>
      </a:lt1>
      <a:dk2>
        <a:srgbClr val="015945"/>
      </a:dk2>
      <a:lt2>
        <a:srgbClr val="7BEFB2"/>
      </a:lt2>
      <a:accent1>
        <a:srgbClr val="02A67F"/>
      </a:accent1>
      <a:accent2>
        <a:srgbClr val="015945"/>
      </a:accent2>
      <a:accent3>
        <a:srgbClr val="7BEFB2"/>
      </a:accent3>
      <a:accent4>
        <a:srgbClr val="39806F"/>
      </a:accent4>
      <a:accent5>
        <a:srgbClr val="C4F2DA"/>
      </a:accent5>
      <a:accent6>
        <a:srgbClr val="E85700"/>
      </a:accent6>
      <a:hlink>
        <a:srgbClr val="0563C1"/>
      </a:hlink>
      <a:folHlink>
        <a:srgbClr val="954F72"/>
      </a:folHlink>
    </a:clrScheme>
    <a:fontScheme name="Custom 75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l">
          <a:defRPr sz="40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standard-powerpointmal" id="{09DEE76C-2313-4CD7-80CA-831B75408DB7}" vid="{495BD0FE-83A0-478E-A2B6-E80591BB25CC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80C6F3EB26434D46BA2BF4420C1D1E62" ma:contentTypeVersion="23" ma:contentTypeDescription="Create a new document." ma:contentTypeScope="" ma:versionID="62e81577e81378acf0a02ed135e02c9c">
  <xsd:schema xmlns:xsd="http://www.w3.org/2001/XMLSchema" xmlns:xs="http://www.w3.org/2001/XMLSchema" xmlns:p="http://schemas.microsoft.com/office/2006/metadata/properties" xmlns:ns2="1f5eea28-33d1-42ea-874e-8644811a1b3c" xmlns:ns3="b0159b99-07f0-4118-b6b8-3b0239e6bbdf" targetNamespace="http://schemas.microsoft.com/office/2006/metadata/properties" ma:root="true" ma:fieldsID="082d5342d65343ad535d75414939435f" ns2:_="" ns3:_="">
    <xsd:import namespace="1f5eea28-33d1-42ea-874e-8644811a1b3c"/>
    <xsd:import namespace="b0159b99-07f0-4118-b6b8-3b0239e6bbdf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Team" minOccurs="0"/>
                <xsd:element ref="ns2:Tjeneste" minOccurs="0"/>
                <xsd:element ref="ns2:Tema" minOccurs="0"/>
                <xsd:element ref="ns3:SharedWithUsers" minOccurs="0"/>
                <xsd:element ref="ns3:SharedWithDetails" minOccurs="0"/>
                <xsd:element ref="ns2:MediaServiceAutoKeyPoints" minOccurs="0"/>
                <xsd:element ref="ns2:MediaServiceKeyPoints" minOccurs="0"/>
                <xsd:element ref="ns2:MediaServiceDateTaken" minOccurs="0"/>
                <xsd:element ref="ns2:MediaServiceAutoTags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LengthInSeconds" minOccurs="0"/>
                <xsd:element ref="ns2:MediaServiceLocation" minOccurs="0"/>
                <xsd:element ref="ns2:lcf76f155ced4ddcb4097134ff3c332f" minOccurs="0"/>
                <xsd:element ref="ns3:TaxCatchAll" minOccurs="0"/>
                <xsd:element ref="ns2:Kommentar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f5eea28-33d1-42ea-874e-8644811a1b3c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Team" ma:index="10" nillable="true" ma:displayName="Team" ma:format="Dropdown" ma:internalName="Team">
      <xsd:simpleType>
        <xsd:union memberTypes="dms:Text">
          <xsd:simpleType>
            <xsd:restriction base="dms:Choice">
              <xsd:enumeration value="Samhandlingsstøtte"/>
              <xsd:enumeration value="Team produkt"/>
              <xsd:enumeration value="Team støtte"/>
              <xsd:enumeration value="Ledelse"/>
            </xsd:restriction>
          </xsd:simpleType>
        </xsd:union>
      </xsd:simpleType>
    </xsd:element>
    <xsd:element name="Tjeneste" ma:index="11" nillable="true" ma:displayName="Tjeneste" ma:format="Dropdown" ma:internalName="Tjeneste">
      <xsd:simpleType>
        <xsd:union memberTypes="dms:Text">
          <xsd:simpleType>
            <xsd:restriction base="dms:Choice">
              <xsd:enumeration value="HelseID"/>
              <xsd:enumeration value="Selv"/>
              <xsd:enumeration value="Valg 3"/>
            </xsd:restriction>
          </xsd:simpleType>
        </xsd:union>
      </xsd:simpleType>
    </xsd:element>
    <xsd:element name="Tema" ma:index="12" nillable="true" ma:displayName="Tema" ma:format="Dropdown" ma:indexed="true" ma:internalName="Tema">
      <xsd:simpleType>
        <xsd:restriction base="dms:Text">
          <xsd:maxLength value="255"/>
        </xsd:restriction>
      </xsd:simpleType>
    </xsd:element>
    <xsd:element name="MediaServiceAutoKeyPoints" ma:index="15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6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7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8" nillable="true" ma:displayName="Tags" ma:internalName="MediaServiceAutoTags" ma:readOnly="true">
      <xsd:simpleType>
        <xsd:restriction base="dms:Text"/>
      </xsd:simpleType>
    </xsd:element>
    <xsd:element name="MediaServiceGenerationTime" ma:index="19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20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2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LengthInSeconds" ma:index="22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3" nillable="true" ma:displayName="Location" ma:internalName="MediaServiceLocation" ma:readOnly="true">
      <xsd:simpleType>
        <xsd:restriction base="dms:Text"/>
      </xsd:simpleType>
    </xsd:element>
    <xsd:element name="lcf76f155ced4ddcb4097134ff3c332f" ma:index="25" nillable="true" ma:taxonomy="true" ma:internalName="lcf76f155ced4ddcb4097134ff3c332f" ma:taxonomyFieldName="MediaServiceImageTags" ma:displayName="Image Tags" ma:readOnly="false" ma:fieldId="{5cf76f15-5ced-4ddc-b409-7134ff3c332f}" ma:taxonomyMulti="true" ma:sspId="b430ae2b-df2c-4b95-9cf0-770a4f42eda8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Kommentar" ma:index="27" nillable="true" ma:displayName="Kommentar" ma:format="Dropdown" ma:internalName="Kommentar">
      <xsd:simpleType>
        <xsd:restriction base="dms:Text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0159b99-07f0-4118-b6b8-3b0239e6bbdf" elementFormDefault="qualified">
    <xsd:import namespace="http://schemas.microsoft.com/office/2006/documentManagement/types"/>
    <xsd:import namespace="http://schemas.microsoft.com/office/infopath/2007/PartnerControls"/>
    <xsd:element name="SharedWithUsers" ma:index="13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4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6" nillable="true" ma:displayName="Taxonomy Catch All Column" ma:hidden="true" ma:list="{b8196de5-9b6a-41df-aeb5-2e874a5b13b4}" ma:internalName="TaxCatchAll" ma:showField="CatchAllData" ma:web="b0159b99-07f0-4118-b6b8-3b0239e6bbdf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eam xmlns="1f5eea28-33d1-42ea-874e-8644811a1b3c" xsi:nil="true"/>
    <Tema xmlns="1f5eea28-33d1-42ea-874e-8644811a1b3c" xsi:nil="true"/>
    <Tjeneste xmlns="1f5eea28-33d1-42ea-874e-8644811a1b3c" xsi:nil="true"/>
    <lcf76f155ced4ddcb4097134ff3c332f xmlns="1f5eea28-33d1-42ea-874e-8644811a1b3c">
      <Terms xmlns="http://schemas.microsoft.com/office/infopath/2007/PartnerControls"/>
    </lcf76f155ced4ddcb4097134ff3c332f>
    <TaxCatchAll xmlns="b0159b99-07f0-4118-b6b8-3b0239e6bbdf" xsi:nil="true"/>
    <Kommentar xmlns="1f5eea28-33d1-42ea-874e-8644811a1b3c" xsi:nil="true"/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6B8C0401-00BF-404E-B532-C11874084B9B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1f5eea28-33d1-42ea-874e-8644811a1b3c"/>
    <ds:schemaRef ds:uri="b0159b99-07f0-4118-b6b8-3b0239e6bbdf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EDACD1FE-2968-4A44-B254-5BA81D14706A}">
  <ds:schemaRefs>
    <ds:schemaRef ds:uri="1f5eea28-33d1-42ea-874e-8644811a1b3c"/>
    <ds:schemaRef ds:uri="http://schemas.microsoft.com/office/infopath/2007/PartnerControls"/>
    <ds:schemaRef ds:uri="http://schemas.microsoft.com/office/2006/documentManagement/types"/>
    <ds:schemaRef ds:uri="b0159b99-07f0-4118-b6b8-3b0239e6bbdf"/>
    <ds:schemaRef ds:uri="http://purl.org/dc/dcmitype/"/>
    <ds:schemaRef ds:uri="http://purl.org/dc/terms/"/>
    <ds:schemaRef ds:uri="http://purl.org/dc/elements/1.1/"/>
    <ds:schemaRef ds:uri="http://www.w3.org/XML/1998/namespace"/>
    <ds:schemaRef ds:uri="http://schemas.openxmlformats.org/package/2006/metadata/core-properties"/>
    <ds:schemaRef ds:uri="http://schemas.microsoft.com/office/2006/metadata/properties"/>
  </ds:schemaRefs>
</ds:datastoreItem>
</file>

<file path=customXml/itemProps3.xml><?xml version="1.0" encoding="utf-8"?>
<ds:datastoreItem xmlns:ds="http://schemas.openxmlformats.org/officeDocument/2006/customXml" ds:itemID="{227B9743-FC69-4012-AC4A-81376FAB4083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standard-powerpointmal</Template>
  <TotalTime>8926</TotalTime>
  <Words>204</Words>
  <Application>Microsoft Office PowerPoint</Application>
  <PresentationFormat>Widescreen</PresentationFormat>
  <Paragraphs>51</Paragraphs>
  <Slides>9</Slides>
  <Notes>0</Notes>
  <HiddenSlides>0</HiddenSlides>
  <MMClips>0</MMClips>
  <ScaleCrop>false</ScaleCrop>
  <HeadingPairs>
    <vt:vector size="8" baseType="variant">
      <vt:variant>
        <vt:lpstr>Brukte skrifter</vt:lpstr>
      </vt:variant>
      <vt:variant>
        <vt:i4>3</vt:i4>
      </vt:variant>
      <vt:variant>
        <vt:lpstr>Tema</vt:lpstr>
      </vt:variant>
      <vt:variant>
        <vt:i4>2</vt:i4>
      </vt:variant>
      <vt:variant>
        <vt:lpstr>Innebygde OLE-servere</vt:lpstr>
      </vt:variant>
      <vt:variant>
        <vt:i4>1</vt:i4>
      </vt:variant>
      <vt:variant>
        <vt:lpstr>Lysbildetitler</vt:lpstr>
      </vt:variant>
      <vt:variant>
        <vt:i4>9</vt:i4>
      </vt:variant>
    </vt:vector>
  </HeadingPairs>
  <TitlesOfParts>
    <vt:vector size="15" baseType="lpstr">
      <vt:lpstr>-apple-system</vt:lpstr>
      <vt:lpstr>Arial</vt:lpstr>
      <vt:lpstr>Calibri</vt:lpstr>
      <vt:lpstr>Norsk helsenett</vt:lpstr>
      <vt:lpstr>Norsk helsenett (lys bakgrunn)</vt:lpstr>
      <vt:lpstr>think-cell Slide</vt:lpstr>
      <vt:lpstr>Pasientens måledata – PMD  En oppfølger til Pasientens prøvesvar?</vt:lpstr>
      <vt:lpstr>Samle inn og tilgjengeliggjøre svarrapporter</vt:lpstr>
      <vt:lpstr>Samle inn og tilgjengeliggjøre måledata</vt:lpstr>
      <vt:lpstr>Innkommende data</vt:lpstr>
      <vt:lpstr>Profilering</vt:lpstr>
      <vt:lpstr>Teknologivalg</vt:lpstr>
      <vt:lpstr>Teknologivalg</vt:lpstr>
      <vt:lpstr>Arkitektur</vt:lpstr>
      <vt:lpstr>Teknologi(bort)valg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tel:</dc:title>
  <dc:creator>Petter Wake</dc:creator>
  <cp:lastModifiedBy>Ivar Yrke</cp:lastModifiedBy>
  <cp:revision>259</cp:revision>
  <dcterms:created xsi:type="dcterms:W3CDTF">2022-05-18T10:37:10Z</dcterms:created>
  <dcterms:modified xsi:type="dcterms:W3CDTF">2023-05-25T06:13:0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80C6F3EB26434D46BA2BF4420C1D1E62</vt:lpwstr>
  </property>
  <property fmtid="{D5CDD505-2E9C-101B-9397-08002B2CF9AE}" pid="3" name="MediaServiceImageTags">
    <vt:lpwstr/>
  </property>
</Properties>
</file>